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tags/tag29.xml" ContentType="application/vnd.openxmlformats-officedocument.presentationml.tags+xml"/>
  <Override PartName="/ppt/notesSlides/notesSlide1.xml" ContentType="application/vnd.openxmlformats-officedocument.presentationml.notesSlide+xml"/>
  <Override PartName="/ppt/tags/tag30.xml" ContentType="application/vnd.openxmlformats-officedocument.presentationml.tags+xml"/>
  <Override PartName="/ppt/notesSlides/notesSlide2.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tags/tag31.xml" ContentType="application/vnd.openxmlformats-officedocument.presentationml.tags+xml"/>
  <Override PartName="/ppt/notesSlides/notesSlide3.xml" ContentType="application/vnd.openxmlformats-officedocument.presentationml.notesSlid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tags/tag32.xml" ContentType="application/vnd.openxmlformats-officedocument.presentationml.tags+xml"/>
  <Override PartName="/ppt/notesSlides/notesSlide4.xml" ContentType="application/vnd.openxmlformats-officedocument.presentationml.notesSlid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tags/tag33.xml" ContentType="application/vnd.openxmlformats-officedocument.presentationml.tags+xml"/>
  <Override PartName="/ppt/notesSlides/notesSlide5.xml" ContentType="application/vnd.openxmlformats-officedocument.presentationml.notesSlide+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tags/tag34.xml" ContentType="application/vnd.openxmlformats-officedocument.presentationml.tags+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tags/tag35.xml" ContentType="application/vnd.openxmlformats-officedocument.presentationml.tags+xml"/>
  <Override PartName="/ppt/charts/chart7.xml" ContentType="application/vnd.openxmlformats-officedocument.drawingml.chart+xml"/>
  <Override PartName="/ppt/charts/style6.xml" ContentType="application/vnd.ms-office.chartstyle+xml"/>
  <Override PartName="/ppt/charts/colors6.xml" ContentType="application/vnd.ms-office.chartcolorstyle+xml"/>
  <Override PartName="/ppt/tags/tag36.xml" ContentType="application/vnd.openxmlformats-officedocument.presentationml.tags+xml"/>
  <Override PartName="/ppt/charts/chart8.xml" ContentType="application/vnd.openxmlformats-officedocument.drawingml.chart+xml"/>
  <Override PartName="/ppt/tags/tag37.xml" ContentType="application/vnd.openxmlformats-officedocument.presentationml.tags+xml"/>
  <Override PartName="/ppt/charts/chart9.xml" ContentType="application/vnd.openxmlformats-officedocument.drawingml.chart+xml"/>
  <Override PartName="/ppt/tags/tag38.xml" ContentType="application/vnd.openxmlformats-officedocument.presentationml.tags+xml"/>
  <Override PartName="/ppt/notesSlides/notesSlide6.xml" ContentType="application/vnd.openxmlformats-officedocument.presentationml.notesSlide+xml"/>
  <Override PartName="/ppt/charts/chart10.xml" ContentType="application/vnd.openxmlformats-officedocument.drawingml.chart+xml"/>
  <Override PartName="/ppt/charts/chart11.xml" ContentType="application/vnd.openxmlformats-officedocument.drawingml.chart+xml"/>
  <Override PartName="/ppt/tags/tag39.xml" ContentType="application/vnd.openxmlformats-officedocument.presentationml.tags+xml"/>
  <Override PartName="/ppt/charts/chart12.xml" ContentType="application/vnd.openxmlformats-officedocument.drawingml.chart+xml"/>
  <Override PartName="/ppt/tags/tag40.xml" ContentType="application/vnd.openxmlformats-officedocument.presentationml.tags+xml"/>
  <Override PartName="/ppt/charts/chart13.xml" ContentType="application/vnd.openxmlformats-officedocument.drawingml.chart+xml"/>
  <Override PartName="/ppt/charts/chart14.xml" ContentType="application/vnd.openxmlformats-officedocument.drawingml.chart+xml"/>
  <Override PartName="/ppt/tags/tag41.xml" ContentType="application/vnd.openxmlformats-officedocument.presentationml.tags+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tags/tag42.xml" ContentType="application/vnd.openxmlformats-officedocument.presentationml.tags+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tags/tag43.xml" ContentType="application/vnd.openxmlformats-officedocument.presentationml.tags+xml"/>
  <Override PartName="/ppt/charts/chart22.xml" ContentType="application/vnd.openxmlformats-officedocument.drawingml.chart+xml"/>
  <Override PartName="/ppt/charts/style7.xml" ContentType="application/vnd.ms-office.chartstyle+xml"/>
  <Override PartName="/ppt/charts/colors7.xml" ContentType="application/vnd.ms-office.chartcolorstyle+xml"/>
  <Override PartName="/ppt/tags/tag44.xml" ContentType="application/vnd.openxmlformats-officedocument.presentationml.tags+xml"/>
  <Override PartName="/ppt/charts/chart23.xml" ContentType="application/vnd.openxmlformats-officedocument.drawingml.chart+xml"/>
  <Override PartName="/ppt/charts/style8.xml" ContentType="application/vnd.ms-office.chartstyle+xml"/>
  <Override PartName="/ppt/charts/colors8.xml" ContentType="application/vnd.ms-office.chartcolorstyl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22"/>
  </p:notesMasterIdLst>
  <p:sldIdLst>
    <p:sldId id="2147378824" r:id="rId5"/>
    <p:sldId id="2147475134" r:id="rId6"/>
    <p:sldId id="2147475146" r:id="rId7"/>
    <p:sldId id="2147475147" r:id="rId8"/>
    <p:sldId id="2147477347" r:id="rId9"/>
    <p:sldId id="2147477346" r:id="rId10"/>
    <p:sldId id="2147472910" r:id="rId11"/>
    <p:sldId id="2147475118" r:id="rId12"/>
    <p:sldId id="2147473876" r:id="rId13"/>
    <p:sldId id="2147475133" r:id="rId14"/>
    <p:sldId id="2147477358" r:id="rId15"/>
    <p:sldId id="2147477359" r:id="rId16"/>
    <p:sldId id="2147477360" r:id="rId17"/>
    <p:sldId id="2147477361" r:id="rId18"/>
    <p:sldId id="2147477362" r:id="rId19"/>
    <p:sldId id="2147477363" r:id="rId20"/>
    <p:sldId id="2147477364" r:id="rId21"/>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BCBBBB"/>
    <a:srgbClr val="7ECAC4"/>
    <a:srgbClr val="CFCECE"/>
    <a:srgbClr val="575555"/>
    <a:srgbClr val="999B9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3" d="100"/>
          <a:sy n="103" d="100"/>
        </p:scale>
        <p:origin x="874" y="77"/>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28"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ophie  ZIMMERMANN" userId="a3ccab47-c860-43ce-9c7d-ef7907b0df29" providerId="ADAL" clId="{4314325D-4433-4527-A5B8-00254240609C}"/>
    <pc:docChg chg="custSel modSld">
      <pc:chgData name="Sophie  ZIMMERMANN" userId="a3ccab47-c860-43ce-9c7d-ef7907b0df29" providerId="ADAL" clId="{4314325D-4433-4527-A5B8-00254240609C}" dt="2024-11-01T08:17:47.742" v="298" actId="1037"/>
      <pc:docMkLst>
        <pc:docMk/>
      </pc:docMkLst>
      <pc:sldChg chg="delSp modSp mod">
        <pc:chgData name="Sophie  ZIMMERMANN" userId="a3ccab47-c860-43ce-9c7d-ef7907b0df29" providerId="ADAL" clId="{4314325D-4433-4527-A5B8-00254240609C}" dt="2024-11-01T08:17:47.742" v="298" actId="1037"/>
        <pc:sldMkLst>
          <pc:docMk/>
          <pc:sldMk cId="435966349" sldId="2147475142"/>
        </pc:sldMkLst>
        <pc:spChg chg="mod">
          <ac:chgData name="Sophie  ZIMMERMANN" userId="a3ccab47-c860-43ce-9c7d-ef7907b0df29" providerId="ADAL" clId="{4314325D-4433-4527-A5B8-00254240609C}" dt="2024-11-01T08:17:47.742" v="298" actId="1037"/>
          <ac:spMkLst>
            <pc:docMk/>
            <pc:sldMk cId="435966349" sldId="2147475142"/>
            <ac:spMk id="7" creationId="{7DAAFD34-D311-196F-D318-B7CBB2FC55F1}"/>
          </ac:spMkLst>
        </pc:spChg>
        <pc:spChg chg="mod">
          <ac:chgData name="Sophie  ZIMMERMANN" userId="a3ccab47-c860-43ce-9c7d-ef7907b0df29" providerId="ADAL" clId="{4314325D-4433-4527-A5B8-00254240609C}" dt="2024-11-01T08:09:44.237" v="264" actId="3064"/>
          <ac:spMkLst>
            <pc:docMk/>
            <pc:sldMk cId="435966349" sldId="2147475142"/>
            <ac:spMk id="11" creationId="{BFC1BC53-B2B2-88E8-FF22-46D4B5DF9712}"/>
          </ac:spMkLst>
        </pc:spChg>
        <pc:spChg chg="del">
          <ac:chgData name="Sophie  ZIMMERMANN" userId="a3ccab47-c860-43ce-9c7d-ef7907b0df29" providerId="ADAL" clId="{4314325D-4433-4527-A5B8-00254240609C}" dt="2024-11-01T08:06:30.393" v="36" actId="478"/>
          <ac:spMkLst>
            <pc:docMk/>
            <pc:sldMk cId="435966349" sldId="2147475142"/>
            <ac:spMk id="13" creationId="{5BF3929D-D92C-F9A2-4B40-D265B6BB67FB}"/>
          </ac:spMkLst>
        </pc:spChg>
        <pc:graphicFrameChg chg="mod">
          <ac:chgData name="Sophie  ZIMMERMANN" userId="a3ccab47-c860-43ce-9c7d-ef7907b0df29" providerId="ADAL" clId="{4314325D-4433-4527-A5B8-00254240609C}" dt="2024-11-01T08:08:59.352" v="211" actId="1038"/>
          <ac:graphicFrameMkLst>
            <pc:docMk/>
            <pc:sldMk cId="435966349" sldId="2147475142"/>
            <ac:graphicFrameMk id="3" creationId="{1DC37342-75B7-517B-0FBA-CC602F84C1AA}"/>
          </ac:graphicFrameMkLst>
        </pc:graphicFrameChg>
        <pc:graphicFrameChg chg="mod">
          <ac:chgData name="Sophie  ZIMMERMANN" userId="a3ccab47-c860-43ce-9c7d-ef7907b0df29" providerId="ADAL" clId="{4314325D-4433-4527-A5B8-00254240609C}" dt="2024-11-01T08:06:27.261" v="35" actId="207"/>
          <ac:graphicFrameMkLst>
            <pc:docMk/>
            <pc:sldMk cId="435966349" sldId="2147475142"/>
            <ac:graphicFrameMk id="6" creationId="{4BD8E265-B158-1A09-6C46-4182AF3CD473}"/>
          </ac:graphicFrameMkLst>
        </pc:graphicFrameChg>
      </pc:sldChg>
      <pc:sldChg chg="addSp delSp modSp mod">
        <pc:chgData name="Sophie  ZIMMERMANN" userId="a3ccab47-c860-43ce-9c7d-ef7907b0df29" providerId="ADAL" clId="{4314325D-4433-4527-A5B8-00254240609C}" dt="2024-11-01T08:09:34.754" v="261" actId="3064"/>
        <pc:sldMkLst>
          <pc:docMk/>
          <pc:sldMk cId="388833020" sldId="2147477354"/>
        </pc:sldMkLst>
        <pc:spChg chg="add mod">
          <ac:chgData name="Sophie  ZIMMERMANN" userId="a3ccab47-c860-43ce-9c7d-ef7907b0df29" providerId="ADAL" clId="{4314325D-4433-4527-A5B8-00254240609C}" dt="2024-11-01T08:09:34.754" v="261" actId="3064"/>
          <ac:spMkLst>
            <pc:docMk/>
            <pc:sldMk cId="388833020" sldId="2147477354"/>
            <ac:spMk id="6" creationId="{3FE029EB-0726-DE25-4BB2-E63DB2FC61E7}"/>
          </ac:spMkLst>
        </pc:spChg>
        <pc:spChg chg="mod">
          <ac:chgData name="Sophie  ZIMMERMANN" userId="a3ccab47-c860-43ce-9c7d-ef7907b0df29" providerId="ADAL" clId="{4314325D-4433-4527-A5B8-00254240609C}" dt="2024-11-01T08:03:17.874" v="32" actId="1038"/>
          <ac:spMkLst>
            <pc:docMk/>
            <pc:sldMk cId="388833020" sldId="2147477354"/>
            <ac:spMk id="10" creationId="{2F21E4D4-BECB-5A87-4711-14032D7492F3}"/>
          </ac:spMkLst>
        </pc:spChg>
        <pc:spChg chg="mod">
          <ac:chgData name="Sophie  ZIMMERMANN" userId="a3ccab47-c860-43ce-9c7d-ef7907b0df29" providerId="ADAL" clId="{4314325D-4433-4527-A5B8-00254240609C}" dt="2024-11-01T08:03:15.788" v="30" actId="1038"/>
          <ac:spMkLst>
            <pc:docMk/>
            <pc:sldMk cId="388833020" sldId="2147477354"/>
            <ac:spMk id="11" creationId="{29596734-6143-084A-A989-D15ABEC33874}"/>
          </ac:spMkLst>
        </pc:spChg>
        <pc:spChg chg="mod">
          <ac:chgData name="Sophie  ZIMMERMANN" userId="a3ccab47-c860-43ce-9c7d-ef7907b0df29" providerId="ADAL" clId="{4314325D-4433-4527-A5B8-00254240609C}" dt="2024-11-01T08:02:52.740" v="1" actId="20577"/>
          <ac:spMkLst>
            <pc:docMk/>
            <pc:sldMk cId="388833020" sldId="2147477354"/>
            <ac:spMk id="12" creationId="{6E8C0A4F-20D1-C9BE-33B2-1536980F5F2B}"/>
          </ac:spMkLst>
        </pc:spChg>
        <pc:spChg chg="del">
          <ac:chgData name="Sophie  ZIMMERMANN" userId="a3ccab47-c860-43ce-9c7d-ef7907b0df29" providerId="ADAL" clId="{4314325D-4433-4527-A5B8-00254240609C}" dt="2024-11-01T08:07:25.977" v="60" actId="478"/>
          <ac:spMkLst>
            <pc:docMk/>
            <pc:sldMk cId="388833020" sldId="2147477354"/>
            <ac:spMk id="13" creationId="{57F3CE99-2D24-4C4A-2381-79818FEE40AF}"/>
          </ac:spMkLst>
        </pc:spChg>
        <pc:graphicFrameChg chg="mod">
          <ac:chgData name="Sophie  ZIMMERMANN" userId="a3ccab47-c860-43ce-9c7d-ef7907b0df29" providerId="ADAL" clId="{4314325D-4433-4527-A5B8-00254240609C}" dt="2024-11-01T08:09:04.221" v="229" actId="1038"/>
          <ac:graphicFrameMkLst>
            <pc:docMk/>
            <pc:sldMk cId="388833020" sldId="2147477354"/>
            <ac:graphicFrameMk id="3" creationId="{470EE70F-4EB3-F5FC-7DA9-A5FD61BBAF43}"/>
          </ac:graphicFrameMkLst>
        </pc:graphicFrameChg>
        <pc:graphicFrameChg chg="mod">
          <ac:chgData name="Sophie  ZIMMERMANN" userId="a3ccab47-c860-43ce-9c7d-ef7907b0df29" providerId="ADAL" clId="{4314325D-4433-4527-A5B8-00254240609C}" dt="2024-11-01T08:08:37.368" v="136" actId="1037"/>
          <ac:graphicFrameMkLst>
            <pc:docMk/>
            <pc:sldMk cId="388833020" sldId="2147477354"/>
            <ac:graphicFrameMk id="14" creationId="{EB84C0ED-1820-DC7F-C3F8-BA9338BED815}"/>
          </ac:graphicFrameMkLst>
        </pc:graphicFrameChg>
      </pc:sldChg>
    </pc:docChg>
  </pc:docChgLst>
  <pc:docChgLst>
    <pc:chgData name="Neriman EL HADIDI" userId="4b24840c-84b3-44ac-9131-ca3568cb403b" providerId="ADAL" clId="{49AFDB74-6FD9-4071-ADAD-4F61DD009A87}"/>
    <pc:docChg chg="delMainMaster">
      <pc:chgData name="Neriman EL HADIDI" userId="4b24840c-84b3-44ac-9131-ca3568cb403b" providerId="ADAL" clId="{49AFDB74-6FD9-4071-ADAD-4F61DD009A87}" dt="2024-11-01T08:58:09.464" v="1" actId="2696"/>
      <pc:docMkLst>
        <pc:docMk/>
      </pc:docMkLst>
      <pc:sldMasterChg chg="del">
        <pc:chgData name="Neriman EL HADIDI" userId="4b24840c-84b3-44ac-9131-ca3568cb403b" providerId="ADAL" clId="{49AFDB74-6FD9-4071-ADAD-4F61DD009A87}" dt="2024-11-01T08:57:51.102" v="0" actId="2696"/>
        <pc:sldMasterMkLst>
          <pc:docMk/>
          <pc:sldMasterMk cId="823099819" sldId="2147483792"/>
        </pc:sldMasterMkLst>
      </pc:sldMasterChg>
      <pc:sldMasterChg chg="del">
        <pc:chgData name="Neriman EL HADIDI" userId="4b24840c-84b3-44ac-9131-ca3568cb403b" providerId="ADAL" clId="{49AFDB74-6FD9-4071-ADAD-4F61DD009A87}" dt="2024-11-01T08:58:09.464" v="1" actId="2696"/>
        <pc:sldMasterMkLst>
          <pc:docMk/>
          <pc:sldMasterMk cId="2459112471" sldId="2147483842"/>
        </pc:sldMasterMkLst>
      </pc:sldMaster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7.xml"/><Relationship Id="rId1" Type="http://schemas.microsoft.com/office/2011/relationships/chartStyle" Target="style7.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8.xml"/><Relationship Id="rId1" Type="http://schemas.microsoft.com/office/2011/relationships/chartStyle" Target="style8.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3.xml"/><Relationship Id="rId1" Type="http://schemas.microsoft.com/office/2011/relationships/chartStyle" Target="style3.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4.xml"/><Relationship Id="rId1" Type="http://schemas.microsoft.com/office/2011/relationships/chartStyle" Target="style4.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5.xml"/><Relationship Id="rId1" Type="http://schemas.microsoft.com/office/2011/relationships/chartStyle" Target="style5.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6.xml"/><Relationship Id="rId1" Type="http://schemas.microsoft.com/office/2011/relationships/chartStyle" Target="style6.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1.8480325644504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CD85737-BE06-437F-A20E-C5C3FCFCAF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B032058-99E3-4A99-B2EA-A28792AFAA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65158F9-CF13-4A54-B40C-944503291F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A1CA409-65BA-4DE2-A989-DBF2D0E4CF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24F7FE8-905D-4937-9DD0-49968B67D3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EBEC2D3-0326-4FC7-9497-B33BEF7B1F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A9219F3-1EA4-483B-AA63-FC7D2EF467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83E0D6E-D33B-4414-9B0A-E5DDEB47F6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title>
          <c:tx>
            <c:rich>
              <a:bodyPr rot="0" vert="horz"/>
              <a:lstStyle/>
              <a:p>
                <a:pPr>
                  <a:defRPr sz="800">
                    <a:latin typeface="Nexa Bold" panose="00000800000000000000" pitchFamily="2" charset="0"/>
                  </a:defRPr>
                </a:pPr>
                <a:r>
                  <a:rPr lang="en-US" sz="800" dirty="0">
                    <a:latin typeface="Nexa Bold" panose="00000800000000000000" pitchFamily="2" charset="0"/>
                  </a:rPr>
                  <a:t>Avg Price/Unit</a:t>
                </a:r>
                <a:r>
                  <a:rPr lang="en-US" sz="800" baseline="0" dirty="0">
                    <a:latin typeface="Nexa Bold" panose="00000800000000000000" pitchFamily="2" charset="0"/>
                  </a:rPr>
                  <a:t> </a:t>
                </a:r>
                <a:r>
                  <a:rPr lang="en-US" sz="800" dirty="0">
                    <a:latin typeface="Nexa Bold" panose="00000800000000000000" pitchFamily="2" charset="0"/>
                  </a:rPr>
                  <a:t>($)</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1291069944164441</c:v>
                </c:pt>
                <c:pt idx="1">
                  <c:v>0.13485892486555889</c:v>
                </c:pt>
                <c:pt idx="2">
                  <c:v>0.13361697278764331</c:v>
                </c:pt>
                <c:pt idx="3">
                  <c:v>0.13181455947245191</c:v>
                </c:pt>
                <c:pt idx="4">
                  <c:v>0.13079849733141291</c:v>
                </c:pt>
                <c:pt idx="5">
                  <c:v>0.12786527339341361</c:v>
                </c:pt>
                <c:pt idx="6">
                  <c:v>0.13389772495720559</c:v>
                </c:pt>
                <c:pt idx="7">
                  <c:v>0.1359519354250221</c:v>
                </c:pt>
                <c:pt idx="8">
                  <c:v>0.13408395448492219</c:v>
                </c:pt>
                <c:pt idx="9">
                  <c:v>0.1272173036352085</c:v>
                </c:pt>
                <c:pt idx="10">
                  <c:v>0.12580154817273331</c:v>
                </c:pt>
                <c:pt idx="11">
                  <c:v>0.1247833670603628</c:v>
                </c:pt>
                <c:pt idx="12">
                  <c:v>0.12616612542700109</c:v>
                </c:pt>
                <c:pt idx="13">
                  <c:v>0.13426073846412021</c:v>
                </c:pt>
                <c:pt idx="14">
                  <c:v>0.13040345544745011</c:v>
                </c:pt>
                <c:pt idx="15">
                  <c:v>0.12568196098787579</c:v>
                </c:pt>
                <c:pt idx="16">
                  <c:v>0.1284543866213313</c:v>
                </c:pt>
                <c:pt idx="17">
                  <c:v>0.13252000199740169</c:v>
                </c:pt>
                <c:pt idx="18">
                  <c:v>0.12612196270786419</c:v>
                </c:pt>
                <c:pt idx="19">
                  <c:v>0.13496886950214251</c:v>
                </c:pt>
                <c:pt idx="20">
                  <c:v>0.13064933940560819</c:v>
                </c:pt>
                <c:pt idx="21">
                  <c:v>0.12635635491031241</c:v>
                </c:pt>
                <c:pt idx="22">
                  <c:v>0.12863609693980929</c:v>
                </c:pt>
                <c:pt idx="23">
                  <c:v>0.13116494310893009</c:v>
                </c:pt>
                <c:pt idx="24">
                  <c:v>0.1278058186678292</c:v>
                </c:pt>
                <c:pt idx="25">
                  <c:v>0.1235932293079324</c:v>
                </c:pt>
                <c:pt idx="26">
                  <c:v>0.12290934252239009</c:v>
                </c:pt>
                <c:pt idx="27">
                  <c:v>0.12109503765009599</c:v>
                </c:pt>
                <c:pt idx="28">
                  <c:v>0.12207135397276341</c:v>
                </c:pt>
                <c:pt idx="29">
                  <c:v>0.1263122981136704</c:v>
                </c:pt>
                <c:pt idx="30">
                  <c:v>0.1263263635992006</c:v>
                </c:pt>
                <c:pt idx="31">
                  <c:v>0.12476889875077329</c:v>
                </c:pt>
                <c:pt idx="32">
                  <c:v>0.12674353123399981</c:v>
                </c:pt>
                <c:pt idx="33">
                  <c:v>0.12588695742723971</c:v>
                </c:pt>
                <c:pt idx="34">
                  <c:v>0.12390000002667199</c:v>
                </c:pt>
                <c:pt idx="35">
                  <c:v>0.12440850519118039</c:v>
                </c:pt>
                <c:pt idx="36">
                  <c:v>0.12336288941275771</c:v>
                </c:pt>
                <c:pt idx="37">
                  <c:v>0.1236579395008299</c:v>
                </c:pt>
                <c:pt idx="38">
                  <c:v>0.1244360084590832</c:v>
                </c:pt>
                <c:pt idx="39">
                  <c:v>0.12224083915887329</c:v>
                </c:pt>
                <c:pt idx="40">
                  <c:v>0.1219327444047168</c:v>
                </c:pt>
                <c:pt idx="41">
                  <c:v>0.1250560323566518</c:v>
                </c:pt>
                <c:pt idx="42">
                  <c:v>0.12745512740440279</c:v>
                </c:pt>
                <c:pt idx="43">
                  <c:v>0.1211984894858895</c:v>
                </c:pt>
                <c:pt idx="44">
                  <c:v>0.1258670226690102</c:v>
                </c:pt>
                <c:pt idx="45">
                  <c:v>0.1272339848348821</c:v>
                </c:pt>
                <c:pt idx="46">
                  <c:v>0.13490346412193621</c:v>
                </c:pt>
                <c:pt idx="47">
                  <c:v>0.1232399985423943</c:v>
                </c:pt>
                <c:pt idx="48">
                  <c:v>0.12311641114157899</c:v>
                </c:pt>
                <c:pt idx="49">
                  <c:v>0.1234350759255986</c:v>
                </c:pt>
                <c:pt idx="50">
                  <c:v>0.12419744604278141</c:v>
                </c:pt>
                <c:pt idx="51">
                  <c:v>0.13145508336915421</c:v>
                </c:pt>
                <c:pt idx="52">
                  <c:v>0.13109930113357529</c:v>
                </c:pt>
                <c:pt idx="53">
                  <c:v>0.13568928560863899</c:v>
                </c:pt>
                <c:pt idx="54">
                  <c:v>0.1285210371531505</c:v>
                </c:pt>
                <c:pt idx="55">
                  <c:v>0.1300753516373136</c:v>
                </c:pt>
                <c:pt idx="56">
                  <c:v>0.12489749950473671</c:v>
                </c:pt>
                <c:pt idx="57">
                  <c:v>0.10266521645136149</c:v>
                </c:pt>
                <c:pt idx="58">
                  <c:v>9.4621929093130358E-2</c:v>
                </c:pt>
                <c:pt idx="59">
                  <c:v>9.8212612965823731E-2</c:v>
                </c:pt>
                <c:pt idx="60">
                  <c:v>0.1102654339127445</c:v>
                </c:pt>
                <c:pt idx="61">
                  <c:v>0.1086326326560431</c:v>
                </c:pt>
                <c:pt idx="62">
                  <c:v>0.10273100071317991</c:v>
                </c:pt>
                <c:pt idx="63">
                  <c:v>0.1056131313298932</c:v>
                </c:pt>
                <c:pt idx="64">
                  <c:v>0.116037952360732</c:v>
                </c:pt>
                <c:pt idx="65">
                  <c:v>0.13065683342069531</c:v>
                </c:pt>
                <c:pt idx="66">
                  <c:v>0.132712182958446</c:v>
                </c:pt>
                <c:pt idx="67">
                  <c:v>0.12498087731066</c:v>
                </c:pt>
                <c:pt idx="68">
                  <c:v>0.1318623648264734</c:v>
                </c:pt>
                <c:pt idx="69">
                  <c:v>0.13405085209231629</c:v>
                </c:pt>
                <c:pt idx="70">
                  <c:v>0.12663942767242409</c:v>
                </c:pt>
                <c:pt idx="71">
                  <c:v>0.13715997078444109</c:v>
                </c:pt>
                <c:pt idx="72">
                  <c:v>0.1312699287114284</c:v>
                </c:pt>
                <c:pt idx="73">
                  <c:v>0.1290474255800157</c:v>
                </c:pt>
                <c:pt idx="74">
                  <c:v>0.12976627424972709</c:v>
                </c:pt>
                <c:pt idx="75">
                  <c:v>0.12686829869724861</c:v>
                </c:pt>
                <c:pt idx="76">
                  <c:v>0.1253623579280761</c:v>
                </c:pt>
                <c:pt idx="77">
                  <c:v>0.12968156222074531</c:v>
                </c:pt>
                <c:pt idx="78">
                  <c:v>0.12750329032649099</c:v>
                </c:pt>
                <c:pt idx="79">
                  <c:v>0.12461050546445129</c:v>
                </c:pt>
                <c:pt idx="80">
                  <c:v>0.12900335189603049</c:v>
                </c:pt>
                <c:pt idx="81">
                  <c:v>0.12741746962889991</c:v>
                </c:pt>
                <c:pt idx="82">
                  <c:v>0.1227246355993528</c:v>
                </c:pt>
                <c:pt idx="83">
                  <c:v>0.12325497363003669</c:v>
                </c:pt>
                <c:pt idx="84">
                  <c:v>0.1237777050026681</c:v>
                </c:pt>
                <c:pt idx="85">
                  <c:v>0.1227618684932686</c:v>
                </c:pt>
                <c:pt idx="86">
                  <c:v>0.12625273778634091</c:v>
                </c:pt>
                <c:pt idx="87">
                  <c:v>0.12848401925218161</c:v>
                </c:pt>
                <c:pt idx="88">
                  <c:v>0.12808991008793849</c:v>
                </c:pt>
                <c:pt idx="89">
                  <c:v>0.12669599383578639</c:v>
                </c:pt>
                <c:pt idx="90">
                  <c:v>0.128457244567205</c:v>
                </c:pt>
                <c:pt idx="91">
                  <c:v>0.1287495738807907</c:v>
                </c:pt>
                <c:pt idx="92">
                  <c:v>0.12753778198649329</c:v>
                </c:pt>
                <c:pt idx="93">
                  <c:v>0.12858384689357691</c:v>
                </c:pt>
                <c:pt idx="94">
                  <c:v>0.13053873342212541</c:v>
                </c:pt>
                <c:pt idx="95">
                  <c:v>0.1283681251237693</c:v>
                </c:pt>
                <c:pt idx="96">
                  <c:v>0.12712219330013799</c:v>
                </c:pt>
                <c:pt idx="97">
                  <c:v>0.12537888942730019</c:v>
                </c:pt>
                <c:pt idx="98">
                  <c:v>0.12745921704595151</c:v>
                </c:pt>
                <c:pt idx="99">
                  <c:v>0.1212266665697815</c:v>
                </c:pt>
                <c:pt idx="100">
                  <c:v>0.1141728668578047</c:v>
                </c:pt>
                <c:pt idx="101">
                  <c:v>0.115957494325048</c:v>
                </c:pt>
              </c:numCache>
            </c:numRef>
          </c:xVal>
          <c:yVal>
            <c:numRef>
              <c:f>Sheet1!$B$2:$B$103</c:f>
              <c:numCache>
                <c:formatCode>General</c:formatCode>
                <c:ptCount val="102"/>
                <c:pt idx="0">
                  <c:v>3.1549194168607013E-2</c:v>
                </c:pt>
                <c:pt idx="1">
                  <c:v>2.5925076493376501E-2</c:v>
                </c:pt>
                <c:pt idx="2">
                  <c:v>1.9457371147598559E-2</c:v>
                </c:pt>
                <c:pt idx="3">
                  <c:v>2.1005226955186751E-2</c:v>
                </c:pt>
                <c:pt idx="4">
                  <c:v>2.3683174888924512E-2</c:v>
                </c:pt>
                <c:pt idx="5">
                  <c:v>2.481491169212223E-2</c:v>
                </c:pt>
                <c:pt idx="6">
                  <c:v>2.2966901329024649E-2</c:v>
                </c:pt>
                <c:pt idx="7">
                  <c:v>2.1693356757167159E-2</c:v>
                </c:pt>
                <c:pt idx="8">
                  <c:v>2.508474647577718E-2</c:v>
                </c:pt>
                <c:pt idx="9">
                  <c:v>3.2219360006132687E-2</c:v>
                </c:pt>
                <c:pt idx="10">
                  <c:v>3.3455366889535383E-2</c:v>
                </c:pt>
                <c:pt idx="11">
                  <c:v>3.077420503855852E-2</c:v>
                </c:pt>
                <c:pt idx="12">
                  <c:v>3.166311843777065E-2</c:v>
                </c:pt>
                <c:pt idx="13">
                  <c:v>2.9573633835338661E-2</c:v>
                </c:pt>
                <c:pt idx="14">
                  <c:v>2.943829474961886E-2</c:v>
                </c:pt>
                <c:pt idx="15">
                  <c:v>3.2326555355538883E-2</c:v>
                </c:pt>
                <c:pt idx="16">
                  <c:v>3.045418321235838E-2</c:v>
                </c:pt>
                <c:pt idx="17">
                  <c:v>3.0177244147381321E-2</c:v>
                </c:pt>
                <c:pt idx="18">
                  <c:v>3.0949579617420529E-2</c:v>
                </c:pt>
                <c:pt idx="19">
                  <c:v>3.3044676701229417E-2</c:v>
                </c:pt>
                <c:pt idx="20">
                  <c:v>3.4502368865567047E-2</c:v>
                </c:pt>
                <c:pt idx="21">
                  <c:v>3.8171203781773647E-2</c:v>
                </c:pt>
                <c:pt idx="22">
                  <c:v>3.2633840746857157E-2</c:v>
                </c:pt>
                <c:pt idx="23">
                  <c:v>3.22851825867847E-2</c:v>
                </c:pt>
                <c:pt idx="24">
                  <c:v>3.4293774474369272E-2</c:v>
                </c:pt>
                <c:pt idx="25">
                  <c:v>3.3493331489235549E-2</c:v>
                </c:pt>
                <c:pt idx="26">
                  <c:v>3.2256296982208908E-2</c:v>
                </c:pt>
                <c:pt idx="27">
                  <c:v>3.256327154323236E-2</c:v>
                </c:pt>
                <c:pt idx="28">
                  <c:v>3.0215972855570969E-2</c:v>
                </c:pt>
                <c:pt idx="29">
                  <c:v>2.971323515475446E-2</c:v>
                </c:pt>
                <c:pt idx="30">
                  <c:v>2.9886044202056931E-2</c:v>
                </c:pt>
                <c:pt idx="31">
                  <c:v>3.0113049153545669E-2</c:v>
                </c:pt>
                <c:pt idx="32">
                  <c:v>3.0121682992946059E-2</c:v>
                </c:pt>
                <c:pt idx="33">
                  <c:v>2.8704102443482309E-2</c:v>
                </c:pt>
                <c:pt idx="34">
                  <c:v>3.0602403901330309E-2</c:v>
                </c:pt>
                <c:pt idx="35">
                  <c:v>3.1456536502498793E-2</c:v>
                </c:pt>
                <c:pt idx="36">
                  <c:v>3.1516667937295108E-2</c:v>
                </c:pt>
                <c:pt idx="37">
                  <c:v>3.3226585884057157E-2</c:v>
                </c:pt>
                <c:pt idx="38">
                  <c:v>3.3016326225624587E-2</c:v>
                </c:pt>
                <c:pt idx="39">
                  <c:v>3.0075909553288729E-2</c:v>
                </c:pt>
                <c:pt idx="40">
                  <c:v>3.030822714314705E-2</c:v>
                </c:pt>
                <c:pt idx="41">
                  <c:v>3.1273537834975489E-2</c:v>
                </c:pt>
                <c:pt idx="42">
                  <c:v>3.005901690014778E-2</c:v>
                </c:pt>
                <c:pt idx="43">
                  <c:v>3.0573863083611631E-2</c:v>
                </c:pt>
                <c:pt idx="44">
                  <c:v>3.254448153409624E-2</c:v>
                </c:pt>
                <c:pt idx="45">
                  <c:v>3.2420025270644671E-2</c:v>
                </c:pt>
                <c:pt idx="46">
                  <c:v>3.0841270586476861E-2</c:v>
                </c:pt>
                <c:pt idx="47">
                  <c:v>3.4545476528939613E-2</c:v>
                </c:pt>
                <c:pt idx="48">
                  <c:v>3.9378011399146942E-2</c:v>
                </c:pt>
                <c:pt idx="49">
                  <c:v>3.4585845792310457E-2</c:v>
                </c:pt>
                <c:pt idx="50">
                  <c:v>3.6889295123608737E-2</c:v>
                </c:pt>
                <c:pt idx="51">
                  <c:v>3.516974061970235E-2</c:v>
                </c:pt>
                <c:pt idx="52">
                  <c:v>3.3440411726256947E-2</c:v>
                </c:pt>
                <c:pt idx="53">
                  <c:v>3.0775515895011849E-2</c:v>
                </c:pt>
                <c:pt idx="54">
                  <c:v>2.856172806220978E-2</c:v>
                </c:pt>
                <c:pt idx="55">
                  <c:v>2.9260191711765832E-2</c:v>
                </c:pt>
                <c:pt idx="56">
                  <c:v>3.1178692703543051E-2</c:v>
                </c:pt>
                <c:pt idx="57">
                  <c:v>3.7031471681131703E-2</c:v>
                </c:pt>
                <c:pt idx="58">
                  <c:v>3.9909501581123753E-2</c:v>
                </c:pt>
                <c:pt idx="59">
                  <c:v>3.3090443177845791E-2</c:v>
                </c:pt>
                <c:pt idx="60">
                  <c:v>2.0429936026239701E-2</c:v>
                </c:pt>
                <c:pt idx="61">
                  <c:v>1.594233918003489E-2</c:v>
                </c:pt>
                <c:pt idx="62">
                  <c:v>2.6561543645322629E-2</c:v>
                </c:pt>
                <c:pt idx="63">
                  <c:v>3.5068893654044378E-2</c:v>
                </c:pt>
                <c:pt idx="64">
                  <c:v>3.0967228847484721E-2</c:v>
                </c:pt>
                <c:pt idx="65">
                  <c:v>2.602705616299417E-2</c:v>
                </c:pt>
                <c:pt idx="66">
                  <c:v>2.587150374122359E-2</c:v>
                </c:pt>
                <c:pt idx="67">
                  <c:v>2.691260699372984E-2</c:v>
                </c:pt>
                <c:pt idx="68">
                  <c:v>2.5874418970458959E-2</c:v>
                </c:pt>
                <c:pt idx="69">
                  <c:v>2.3193315376484971E-2</c:v>
                </c:pt>
                <c:pt idx="70">
                  <c:v>2.2686657383630061E-2</c:v>
                </c:pt>
                <c:pt idx="71">
                  <c:v>2.6189284143623481E-2</c:v>
                </c:pt>
                <c:pt idx="72">
                  <c:v>2.7336338114147821E-2</c:v>
                </c:pt>
                <c:pt idx="73">
                  <c:v>2.7740990571672709E-2</c:v>
                </c:pt>
                <c:pt idx="74">
                  <c:v>2.877527311984417E-2</c:v>
                </c:pt>
                <c:pt idx="75">
                  <c:v>2.8510329318482429E-2</c:v>
                </c:pt>
                <c:pt idx="76">
                  <c:v>2.7909474603405621E-2</c:v>
                </c:pt>
                <c:pt idx="77">
                  <c:v>2.354699792786898E-2</c:v>
                </c:pt>
                <c:pt idx="78">
                  <c:v>2.3516397046911521E-2</c:v>
                </c:pt>
                <c:pt idx="79">
                  <c:v>2.2115174941799771E-2</c:v>
                </c:pt>
                <c:pt idx="80">
                  <c:v>2.2268202762568419E-2</c:v>
                </c:pt>
                <c:pt idx="81">
                  <c:v>2.1244426266941788E-2</c:v>
                </c:pt>
                <c:pt idx="82">
                  <c:v>3.1177386289303839E-2</c:v>
                </c:pt>
                <c:pt idx="83">
                  <c:v>2.630647686699077E-2</c:v>
                </c:pt>
                <c:pt idx="84">
                  <c:v>2.5524833007679371E-2</c:v>
                </c:pt>
                <c:pt idx="85">
                  <c:v>2.6871534411513371E-2</c:v>
                </c:pt>
                <c:pt idx="86">
                  <c:v>2.6338851413823881E-2</c:v>
                </c:pt>
                <c:pt idx="87">
                  <c:v>2.464870108961555E-2</c:v>
                </c:pt>
                <c:pt idx="88">
                  <c:v>2.6238033764437702E-2</c:v>
                </c:pt>
                <c:pt idx="89">
                  <c:v>3.0191859532939729E-2</c:v>
                </c:pt>
                <c:pt idx="90">
                  <c:v>3.071685169632082E-2</c:v>
                </c:pt>
                <c:pt idx="91">
                  <c:v>3.1790352756617277E-2</c:v>
                </c:pt>
                <c:pt idx="92">
                  <c:v>2.9789485452214989E-2</c:v>
                </c:pt>
                <c:pt idx="93">
                  <c:v>2.7419432969366012E-2</c:v>
                </c:pt>
                <c:pt idx="94">
                  <c:v>2.5375304588112151E-2</c:v>
                </c:pt>
                <c:pt idx="95">
                  <c:v>2.727143524464504E-2</c:v>
                </c:pt>
                <c:pt idx="96">
                  <c:v>2.430072520573312E-2</c:v>
                </c:pt>
                <c:pt idx="97">
                  <c:v>2.5953063658202231E-2</c:v>
                </c:pt>
                <c:pt idx="98">
                  <c:v>2.870484051773789E-2</c:v>
                </c:pt>
                <c:pt idx="99">
                  <c:v>3.0161179689259059E-2</c:v>
                </c:pt>
                <c:pt idx="100">
                  <c:v>3.7558407981539428E-2</c:v>
                </c:pt>
                <c:pt idx="101">
                  <c:v>3.5796970668813113E-2</c:v>
                </c:pt>
              </c:numCache>
            </c:numRef>
          </c:yVal>
          <c:smooth val="0"/>
          <c:extLst>
            <c:ext xmlns:c16="http://schemas.microsoft.com/office/drawing/2014/chart" uri="{C3380CC4-5D6E-409C-BE32-E72D297353CC}">
              <c16:uniqueId val="{00000000-096C-4121-9522-6AB7243CCAAE}"/>
            </c:ext>
          </c:extLst>
        </c:ser>
        <c:ser>
          <c:idx val="1"/>
          <c:order val="1"/>
          <c:tx>
            <c:strRef>
              <c:f>Sheet1!$B$105</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6:$A$157</c:f>
              <c:numCache>
                <c:formatCode>General</c:formatCode>
                <c:ptCount val="52"/>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numCache>
            </c:numRef>
          </c:xVal>
          <c:yVal>
            <c:numRef>
              <c:f>Sheet1!$B$106:$B$157</c:f>
              <c:numCache>
                <c:formatCode>General</c:formatCode>
                <c:ptCount val="52"/>
                <c:pt idx="0">
                  <c:v>3.3379430772150658E-2</c:v>
                </c:pt>
                <c:pt idx="1">
                  <c:v>3.5297770608354727E-2</c:v>
                </c:pt>
                <c:pt idx="2">
                  <c:v>3.603152077608085E-2</c:v>
                </c:pt>
                <c:pt idx="3">
                  <c:v>3.0978674639028671E-2</c:v>
                </c:pt>
                <c:pt idx="4">
                  <c:v>2.8133515753956471E-2</c:v>
                </c:pt>
                <c:pt idx="5">
                  <c:v>2.7512069607189622E-2</c:v>
                </c:pt>
                <c:pt idx="6">
                  <c:v>2.753590860107619E-2</c:v>
                </c:pt>
                <c:pt idx="7">
                  <c:v>2.7306049137985969E-2</c:v>
                </c:pt>
                <c:pt idx="8">
                  <c:v>2.683860754587173E-2</c:v>
                </c:pt>
                <c:pt idx="9">
                  <c:v>2.8577136215520639E-2</c:v>
                </c:pt>
                <c:pt idx="10">
                  <c:v>2.9045708307140341E-2</c:v>
                </c:pt>
                <c:pt idx="11">
                  <c:v>3.0151694267354031E-2</c:v>
                </c:pt>
                <c:pt idx="12">
                  <c:v>3.1278274774940933E-2</c:v>
                </c:pt>
                <c:pt idx="13">
                  <c:v>3.2623144271831599E-2</c:v>
                </c:pt>
                <c:pt idx="14">
                  <c:v>3.2081452766552027E-2</c:v>
                </c:pt>
                <c:pt idx="15">
                  <c:v>2.8476513020004542E-2</c:v>
                </c:pt>
                <c:pt idx="16">
                  <c:v>2.889792926206242E-2</c:v>
                </c:pt>
                <c:pt idx="17">
                  <c:v>2.8572345272906731E-2</c:v>
                </c:pt>
                <c:pt idx="18">
                  <c:v>2.758215728763419E-2</c:v>
                </c:pt>
                <c:pt idx="19">
                  <c:v>2.6684207925807661E-2</c:v>
                </c:pt>
                <c:pt idx="20">
                  <c:v>2.507409816863837E-2</c:v>
                </c:pt>
                <c:pt idx="21">
                  <c:v>3.7053775555914388E-2</c:v>
                </c:pt>
                <c:pt idx="22">
                  <c:v>4.1201839145334811E-2</c:v>
                </c:pt>
                <c:pt idx="23">
                  <c:v>3.952108516249337E-2</c:v>
                </c:pt>
                <c:pt idx="24">
                  <c:v>3.301132678213544E-2</c:v>
                </c:pt>
                <c:pt idx="25">
                  <c:v>3.4672282379825628E-2</c:v>
                </c:pt>
                <c:pt idx="26">
                  <c:v>3.6478521099227869E-2</c:v>
                </c:pt>
                <c:pt idx="27">
                  <c:v>3.1719960612283417E-2</c:v>
                </c:pt>
                <c:pt idx="28">
                  <c:v>2.9844699099281859E-2</c:v>
                </c:pt>
                <c:pt idx="29">
                  <c:v>2.824703792935155E-2</c:v>
                </c:pt>
                <c:pt idx="30">
                  <c:v>2.3926861689124789E-2</c:v>
                </c:pt>
                <c:pt idx="31">
                  <c:v>2.077067140814904E-2</c:v>
                </c:pt>
                <c:pt idx="32">
                  <c:v>2.3460558709885782E-2</c:v>
                </c:pt>
                <c:pt idx="33">
                  <c:v>3.042796286207031E-2</c:v>
                </c:pt>
                <c:pt idx="34">
                  <c:v>3.1037706913624011E-2</c:v>
                </c:pt>
                <c:pt idx="35">
                  <c:v>2.928997264422914E-2</c:v>
                </c:pt>
                <c:pt idx="36">
                  <c:v>2.9697936908540851E-2</c:v>
                </c:pt>
                <c:pt idx="37">
                  <c:v>3.0248130900335801E-2</c:v>
                </c:pt>
                <c:pt idx="38">
                  <c:v>3.5070387750061743E-2</c:v>
                </c:pt>
                <c:pt idx="39">
                  <c:v>3.120833777020552E-2</c:v>
                </c:pt>
                <c:pt idx="40">
                  <c:v>2.682679016675503E-2</c:v>
                </c:pt>
                <c:pt idx="41">
                  <c:v>2.4203784771293649E-2</c:v>
                </c:pt>
                <c:pt idx="42">
                  <c:v>2.4098053977022381E-2</c:v>
                </c:pt>
                <c:pt idx="43">
                  <c:v>2.4523754132153151E-2</c:v>
                </c:pt>
                <c:pt idx="44">
                  <c:v>2.2379504666963371E-2</c:v>
                </c:pt>
                <c:pt idx="45">
                  <c:v>2.104065524243157E-2</c:v>
                </c:pt>
                <c:pt idx="46">
                  <c:v>2.202824012890214E-2</c:v>
                </c:pt>
                <c:pt idx="47">
                  <c:v>2.3321641522021069E-2</c:v>
                </c:pt>
                <c:pt idx="48">
                  <c:v>2.5721900660138009E-2</c:v>
                </c:pt>
                <c:pt idx="49">
                  <c:v>2.4967370312040962E-2</c:v>
                </c:pt>
                <c:pt idx="50">
                  <c:v>2.603335979145837E-2</c:v>
                </c:pt>
                <c:pt idx="51">
                  <c:v>2.5702227757022279E-2</c:v>
                </c:pt>
              </c:numCache>
            </c:numRef>
          </c:yVal>
          <c:smooth val="0"/>
          <c:extLst>
            <c:ext xmlns:c16="http://schemas.microsoft.com/office/drawing/2014/chart" uri="{C3380CC4-5D6E-409C-BE32-E72D297353CC}">
              <c16:uniqueId val="{00000002-096C-4121-9522-6AB7243CCAAE}"/>
            </c:ext>
          </c:extLst>
        </c:ser>
        <c:ser>
          <c:idx val="2"/>
          <c:order val="2"/>
          <c:tx>
            <c:strRef>
              <c:f>Sheet1!$B$15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0:$A$161</c:f>
              <c:numCache>
                <c:formatCode>General</c:formatCode>
                <c:ptCount val="2"/>
                <c:pt idx="0">
                  <c:v>0</c:v>
                </c:pt>
                <c:pt idx="1">
                  <c:v>0.1108820277239114</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5-096C-4121-9522-6AB7243CCAAE}"/>
            </c:ext>
          </c:extLst>
        </c:ser>
        <c:ser>
          <c:idx val="3"/>
          <c:order val="3"/>
          <c:tx>
            <c:strRef>
              <c:f>Sheet1!$B$16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4:$A$165</c:f>
              <c:numCache>
                <c:formatCode>General</c:formatCode>
                <c:ptCount val="2"/>
                <c:pt idx="0">
                  <c:v>0.1108820277239114</c:v>
                </c:pt>
                <c:pt idx="1">
                  <c:v>0.1108820277239114</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68:$A$169</c:f>
              <c:numCache>
                <c:formatCode>General</c:formatCode>
                <c:ptCount val="2"/>
                <c:pt idx="0">
                  <c:v>0</c:v>
                </c:pt>
                <c:pt idx="1">
                  <c:v>0.11732114474802791</c:v>
                </c:pt>
              </c:numCache>
            </c:numRef>
          </c:xVal>
          <c:yVal>
            <c:numRef>
              <c:f>Sheet1!$B$168:$B$169</c:f>
              <c:numCache>
                <c:formatCode>General</c:formatCode>
                <c:ptCount val="2"/>
                <c:pt idx="0">
                  <c:v>3.1101577984060609E-2</c:v>
                </c:pt>
                <c:pt idx="1">
                  <c:v>3.1101577984060609E-2</c:v>
                </c:pt>
              </c:numCache>
            </c:numRef>
          </c:yVal>
          <c:smooth val="0"/>
          <c:extLst>
            <c:ext xmlns:c16="http://schemas.microsoft.com/office/drawing/2014/chart" uri="{C3380CC4-5D6E-409C-BE32-E72D297353CC}">
              <c16:uniqueId val="{0000000D-096C-4121-9522-6AB7243CCAAE}"/>
            </c:ext>
          </c:extLst>
        </c:ser>
        <c:ser>
          <c:idx val="5"/>
          <c:order val="5"/>
          <c:tx>
            <c:strRef>
              <c:f>Sheet1!$B$17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2:$A$173</c:f>
              <c:numCache>
                <c:formatCode>General</c:formatCode>
                <c:ptCount val="2"/>
                <c:pt idx="0">
                  <c:v>0.11732114474802791</c:v>
                </c:pt>
                <c:pt idx="1">
                  <c:v>0.11732114474802791</c:v>
                </c:pt>
              </c:numCache>
            </c:numRef>
          </c:xVal>
          <c:yVal>
            <c:numRef>
              <c:f>Sheet1!$B$172:$B$173</c:f>
              <c:numCache>
                <c:formatCode>General</c:formatCode>
                <c:ptCount val="2"/>
                <c:pt idx="0">
                  <c:v>3.1101577984060609E-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6:$A$177</c:f>
              <c:numCache>
                <c:formatCode>General</c:formatCode>
                <c:ptCount val="2"/>
                <c:pt idx="0">
                  <c:v>0</c:v>
                </c:pt>
                <c:pt idx="1">
                  <c:v>0.13512234665834599</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5-096C-4121-9522-6AB7243CCAAE}"/>
            </c:ext>
          </c:extLst>
        </c:ser>
        <c:ser>
          <c:idx val="7"/>
          <c:order val="7"/>
          <c:tx>
            <c:strRef>
              <c:f>Sheet1!$B$17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0:$A$181</c:f>
              <c:numCache>
                <c:formatCode>General</c:formatCode>
                <c:ptCount val="2"/>
                <c:pt idx="0">
                  <c:v>0.13512234665834599</c:v>
                </c:pt>
                <c:pt idx="1">
                  <c:v>0.13512234665834599</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4:$A$238</c:f>
              <c:numCache>
                <c:formatCode>General</c:formatCode>
                <c:ptCount val="55"/>
                <c:pt idx="0">
                  <c:v>0.1158609141609535</c:v>
                </c:pt>
                <c:pt idx="1">
                  <c:v>0.11576492852159111</c:v>
                </c:pt>
                <c:pt idx="2">
                  <c:v>0.1125902978144796</c:v>
                </c:pt>
                <c:pt idx="3">
                  <c:v>0.11978170073355771</c:v>
                </c:pt>
                <c:pt idx="4">
                  <c:v>0.1245248181272578</c:v>
                </c:pt>
                <c:pt idx="5">
                  <c:v>0.12548726934560489</c:v>
                </c:pt>
                <c:pt idx="6">
                  <c:v>0.1256259094488848</c:v>
                </c:pt>
                <c:pt idx="7">
                  <c:v>0.1254862424440176</c:v>
                </c:pt>
                <c:pt idx="8">
                  <c:v>0.1199774999339862</c:v>
                </c:pt>
                <c:pt idx="9">
                  <c:v>0.12121465874755021</c:v>
                </c:pt>
                <c:pt idx="10">
                  <c:v>0.12379103447914221</c:v>
                </c:pt>
                <c:pt idx="11">
                  <c:v>0.1181709725572182</c:v>
                </c:pt>
                <c:pt idx="12">
                  <c:v>0.12582066704643899</c:v>
                </c:pt>
                <c:pt idx="13">
                  <c:v>0.12535096916489499</c:v>
                </c:pt>
                <c:pt idx="14">
                  <c:v>0.13055987626351559</c:v>
                </c:pt>
                <c:pt idx="15">
                  <c:v>0.15074422661769649</c:v>
                </c:pt>
                <c:pt idx="16">
                  <c:v>0.12240897917031469</c:v>
                </c:pt>
                <c:pt idx="17">
                  <c:v>0.1217108327799603</c:v>
                </c:pt>
                <c:pt idx="18">
                  <c:v>0.1171724655482226</c:v>
                </c:pt>
                <c:pt idx="19">
                  <c:v>0.1219358156022716</c:v>
                </c:pt>
                <c:pt idx="20">
                  <c:v>0.1195372529426387</c:v>
                </c:pt>
                <c:pt idx="21">
                  <c:v>0.1105494343270132</c:v>
                </c:pt>
                <c:pt idx="22">
                  <c:v>0.1070884141620926</c:v>
                </c:pt>
                <c:pt idx="23">
                  <c:v>0.1104012497821818</c:v>
                </c:pt>
                <c:pt idx="24">
                  <c:v>0.1177158034506435</c:v>
                </c:pt>
                <c:pt idx="25">
                  <c:v>0.11126026922818021</c:v>
                </c:pt>
                <c:pt idx="26">
                  <c:v>0.11392359381095769</c:v>
                </c:pt>
                <c:pt idx="27">
                  <c:v>0.1198965966588942</c:v>
                </c:pt>
                <c:pt idx="28">
                  <c:v>0.1209074466927164</c:v>
                </c:pt>
                <c:pt idx="29">
                  <c:v>0.12474691202937099</c:v>
                </c:pt>
                <c:pt idx="30">
                  <c:v>0.1297946000050382</c:v>
                </c:pt>
                <c:pt idx="31">
                  <c:v>0.12229400746316289</c:v>
                </c:pt>
                <c:pt idx="32">
                  <c:v>0.1247254298197347</c:v>
                </c:pt>
                <c:pt idx="33">
                  <c:v>0.1168232428820008</c:v>
                </c:pt>
                <c:pt idx="34">
                  <c:v>0.11022213775907549</c:v>
                </c:pt>
                <c:pt idx="35">
                  <c:v>0.1168773523038361</c:v>
                </c:pt>
                <c:pt idx="36">
                  <c:v>0.1134810418215515</c:v>
                </c:pt>
                <c:pt idx="37">
                  <c:v>0.1109522863788637</c:v>
                </c:pt>
                <c:pt idx="38">
                  <c:v>0.1150834070947462</c:v>
                </c:pt>
                <c:pt idx="39">
                  <c:v>0.11875677529700469</c:v>
                </c:pt>
                <c:pt idx="40">
                  <c:v>0.13029125976566019</c:v>
                </c:pt>
                <c:pt idx="41">
                  <c:v>0.1344693076760983</c:v>
                </c:pt>
                <c:pt idx="42">
                  <c:v>0.13528624465790351</c:v>
                </c:pt>
                <c:pt idx="43">
                  <c:v>0.13240161957370231</c:v>
                </c:pt>
                <c:pt idx="44">
                  <c:v>0.13352197636655419</c:v>
                </c:pt>
                <c:pt idx="45">
                  <c:v>0.1322769544968195</c:v>
                </c:pt>
                <c:pt idx="46">
                  <c:v>0.1296670010136694</c:v>
                </c:pt>
                <c:pt idx="47">
                  <c:v>0.1316269742000927</c:v>
                </c:pt>
                <c:pt idx="48">
                  <c:v>0.13038091782591391</c:v>
                </c:pt>
                <c:pt idx="49">
                  <c:v>0.14143071684781211</c:v>
                </c:pt>
                <c:pt idx="50">
                  <c:v>0.13896367049633601</c:v>
                </c:pt>
                <c:pt idx="51">
                  <c:v>0.13373376587397251</c:v>
                </c:pt>
                <c:pt idx="52">
                  <c:v>0.11732114474802791</c:v>
                </c:pt>
                <c:pt idx="53">
                  <c:v>0.1108820277239114</c:v>
                </c:pt>
                <c:pt idx="54">
                  <c:v>0.13512234665834599</c:v>
                </c:pt>
              </c:numCache>
            </c:numRef>
          </c:xVal>
          <c:yVal>
            <c:numRef>
              <c:f>Sheet1!$B$184:$B$238</c:f>
              <c:numCache>
                <c:formatCode>General</c:formatCode>
                <c:ptCount val="55"/>
                <c:pt idx="0">
                  <c:v>3.1620668745252142E-2</c:v>
                </c:pt>
                <c:pt idx="1">
                  <c:v>3.1654790245678951E-2</c:v>
                </c:pt>
                <c:pt idx="2">
                  <c:v>3.2783325344754151E-2</c:v>
                </c:pt>
                <c:pt idx="3">
                  <c:v>3.022688607526958E-2</c:v>
                </c:pt>
                <c:pt idx="4">
                  <c:v>2.8540776744242852E-2</c:v>
                </c:pt>
                <c:pt idx="5">
                  <c:v>2.8198639317480349E-2</c:v>
                </c:pt>
                <c:pt idx="6">
                  <c:v>2.8149354774764782E-2</c:v>
                </c:pt>
                <c:pt idx="7">
                  <c:v>2.8199004366077019E-2</c:v>
                </c:pt>
                <c:pt idx="8">
                  <c:v>3.0157282303857849E-2</c:v>
                </c:pt>
                <c:pt idx="9">
                  <c:v>2.9717490317624731E-2</c:v>
                </c:pt>
                <c:pt idx="10">
                  <c:v>2.880162617160174E-2</c:v>
                </c:pt>
                <c:pt idx="11">
                  <c:v>3.0799476543192809E-2</c:v>
                </c:pt>
                <c:pt idx="12">
                  <c:v>2.8080121278043681E-2</c:v>
                </c:pt>
                <c:pt idx="13">
                  <c:v>2.8247092051713919E-2</c:v>
                </c:pt>
                <c:pt idx="14">
                  <c:v>2.639540124703324E-2</c:v>
                </c:pt>
                <c:pt idx="15">
                  <c:v>1.9220157910636009E-2</c:v>
                </c:pt>
                <c:pt idx="16">
                  <c:v>2.9292926757015069E-2</c:v>
                </c:pt>
                <c:pt idx="17">
                  <c:v>2.9541107656935999E-2</c:v>
                </c:pt>
                <c:pt idx="18">
                  <c:v>3.1154431279754719E-2</c:v>
                </c:pt>
                <c:pt idx="19">
                  <c:v>2.9461129531890291E-2</c:v>
                </c:pt>
                <c:pt idx="20">
                  <c:v>3.0313783713891131E-2</c:v>
                </c:pt>
                <c:pt idx="21">
                  <c:v>3.3508822667282862E-2</c:v>
                </c:pt>
                <c:pt idx="22">
                  <c:v>3.4739165058279807E-2</c:v>
                </c:pt>
                <c:pt idx="23">
                  <c:v>3.3561500120319547E-2</c:v>
                </c:pt>
                <c:pt idx="24">
                  <c:v>3.0961282548418428E-2</c:v>
                </c:pt>
                <c:pt idx="25">
                  <c:v>3.325613118609181E-2</c:v>
                </c:pt>
                <c:pt idx="26">
                  <c:v>3.230935798656305E-2</c:v>
                </c:pt>
                <c:pt idx="27">
                  <c:v>3.0186042242885399E-2</c:v>
                </c:pt>
                <c:pt idx="28">
                  <c:v>2.9826699740302571E-2</c:v>
                </c:pt>
                <c:pt idx="29">
                  <c:v>2.8461825588360749E-2</c:v>
                </c:pt>
                <c:pt idx="30">
                  <c:v>2.6667445839888119E-2</c:v>
                </c:pt>
                <c:pt idx="31">
                  <c:v>2.9333797528733729E-2</c:v>
                </c:pt>
                <c:pt idx="32">
                  <c:v>2.8469462201818171E-2</c:v>
                </c:pt>
                <c:pt idx="33">
                  <c:v>3.1278574864500211E-2</c:v>
                </c:pt>
                <c:pt idx="34">
                  <c:v>3.362517184260494E-2</c:v>
                </c:pt>
                <c:pt idx="35">
                  <c:v>3.1259339751075838E-2</c:v>
                </c:pt>
                <c:pt idx="36">
                  <c:v>3.2466678789921898E-2</c:v>
                </c:pt>
                <c:pt idx="37">
                  <c:v>3.336561461501103E-2</c:v>
                </c:pt>
                <c:pt idx="38">
                  <c:v>3.1897061212580187E-2</c:v>
                </c:pt>
                <c:pt idx="39">
                  <c:v>3.0591232179052279E-2</c:v>
                </c:pt>
                <c:pt idx="40">
                  <c:v>2.6490890509876141E-2</c:v>
                </c:pt>
                <c:pt idx="41">
                  <c:v>2.5005655171483909E-2</c:v>
                </c:pt>
                <c:pt idx="42">
                  <c:v>2.471524594195228E-2</c:v>
                </c:pt>
                <c:pt idx="43">
                  <c:v>2.5740688254943609E-2</c:v>
                </c:pt>
                <c:pt idx="44">
                  <c:v>2.534241769031121E-2</c:v>
                </c:pt>
                <c:pt idx="45">
                  <c:v>2.5785004878787769E-2</c:v>
                </c:pt>
                <c:pt idx="46">
                  <c:v>2.6712805427711591E-2</c:v>
                </c:pt>
                <c:pt idx="47">
                  <c:v>2.6016063432124481E-2</c:v>
                </c:pt>
                <c:pt idx="48">
                  <c:v>2.645901837190287E-2</c:v>
                </c:pt>
                <c:pt idx="49">
                  <c:v>2.253097533810856E-2</c:v>
                </c:pt>
                <c:pt idx="50">
                  <c:v>2.3407974477709061E-2</c:v>
                </c:pt>
                <c:pt idx="51">
                  <c:v>2.5267129597052979E-2</c:v>
                </c:pt>
                <c:pt idx="52">
                  <c:v>3.1101577984060599E-2</c:v>
                </c:pt>
                <c:pt idx="53">
                  <c:v>3.3390590546211449E-2</c:v>
                </c:pt>
                <c:pt idx="54">
                  <c:v>2.47735092998775E-2</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0.18089307194123574"/>
          <c:min val="7.5697543274504286E-2"/>
        </c:scaling>
        <c:delete val="0"/>
        <c:axPos val="b"/>
        <c:title>
          <c:tx>
            <c:rich>
              <a:bodyPr rot="0" spcFirstLastPara="1" vertOverflow="ellipsis" vert="horz" wrap="square" anchor="ctr" anchorCtr="1"/>
              <a:lstStyle/>
              <a:p>
                <a:pPr>
                  <a:defRPr sz="800" b="0">
                    <a:solidFill>
                      <a:srgbClr val="575555"/>
                    </a:solidFill>
                    <a:latin typeface="Nexa Bold"/>
                  </a:defRPr>
                </a:pPr>
                <a:r>
                  <a:rPr lang="en-US"/>
                  <a:t>Price Ix vs. Gillette Fusion5</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3</c:f>
              <c:numCache>
                <c:formatCode>General</c:formatCode>
                <c:ptCount val="102"/>
                <c:pt idx="0">
                  <c:v>0.3084051742229012</c:v>
                </c:pt>
                <c:pt idx="1">
                  <c:v>0.31591786351078627</c:v>
                </c:pt>
                <c:pt idx="2">
                  <c:v>0.32058023334902946</c:v>
                </c:pt>
                <c:pt idx="3">
                  <c:v>0.31551466024025998</c:v>
                </c:pt>
                <c:pt idx="4">
                  <c:v>0.31248983133575575</c:v>
                </c:pt>
                <c:pt idx="5">
                  <c:v>0.31209899175068745</c:v>
                </c:pt>
                <c:pt idx="6">
                  <c:v>0.31243915630070307</c:v>
                </c:pt>
                <c:pt idx="7">
                  <c:v>0.3133619793471481</c:v>
                </c:pt>
                <c:pt idx="8">
                  <c:v>0.31671907756813417</c:v>
                </c:pt>
                <c:pt idx="9">
                  <c:v>0.31082322826247477</c:v>
                </c:pt>
                <c:pt idx="10">
                  <c:v>0.31047212859141043</c:v>
                </c:pt>
                <c:pt idx="11">
                  <c:v>0.30851195946449417</c:v>
                </c:pt>
                <c:pt idx="12">
                  <c:v>0.30743476600274672</c:v>
                </c:pt>
                <c:pt idx="13">
                  <c:v>0.30557876018361524</c:v>
                </c:pt>
                <c:pt idx="14">
                  <c:v>0.30608180521683359</c:v>
                </c:pt>
                <c:pt idx="15">
                  <c:v>0.30537959003209308</c:v>
                </c:pt>
                <c:pt idx="16">
                  <c:v>0.30479028449342177</c:v>
                </c:pt>
                <c:pt idx="17">
                  <c:v>0.30535697989231286</c:v>
                </c:pt>
                <c:pt idx="18">
                  <c:v>0.30758733419811496</c:v>
                </c:pt>
                <c:pt idx="19">
                  <c:v>0.30384356418742708</c:v>
                </c:pt>
                <c:pt idx="20">
                  <c:v>0.30255871389344829</c:v>
                </c:pt>
                <c:pt idx="21">
                  <c:v>0.30131492720175512</c:v>
                </c:pt>
                <c:pt idx="22">
                  <c:v>0.30402402402402401</c:v>
                </c:pt>
                <c:pt idx="23">
                  <c:v>0.3041818228723267</c:v>
                </c:pt>
                <c:pt idx="24">
                  <c:v>0.30380595989557657</c:v>
                </c:pt>
                <c:pt idx="25">
                  <c:v>0.30266464709715091</c:v>
                </c:pt>
                <c:pt idx="26">
                  <c:v>0.30198090992432275</c:v>
                </c:pt>
                <c:pt idx="27">
                  <c:v>0.30261018186645428</c:v>
                </c:pt>
                <c:pt idx="28">
                  <c:v>0.30379475941413642</c:v>
                </c:pt>
                <c:pt idx="29">
                  <c:v>0.30510575091808745</c:v>
                </c:pt>
                <c:pt idx="30">
                  <c:v>0.30547263681592041</c:v>
                </c:pt>
                <c:pt idx="31">
                  <c:v>0.30191808942530629</c:v>
                </c:pt>
                <c:pt idx="32">
                  <c:v>0.30004016835781272</c:v>
                </c:pt>
                <c:pt idx="33">
                  <c:v>0.30140260803244229</c:v>
                </c:pt>
                <c:pt idx="34">
                  <c:v>0.30315931183998879</c:v>
                </c:pt>
                <c:pt idx="35">
                  <c:v>0.30423707530585153</c:v>
                </c:pt>
                <c:pt idx="36">
                  <c:v>0.30339368848493503</c:v>
                </c:pt>
                <c:pt idx="37">
                  <c:v>0.30312142377964563</c:v>
                </c:pt>
                <c:pt idx="38">
                  <c:v>0.30421477922015827</c:v>
                </c:pt>
                <c:pt idx="39">
                  <c:v>0.30360700245050509</c:v>
                </c:pt>
                <c:pt idx="40">
                  <c:v>0.30482776067799466</c:v>
                </c:pt>
                <c:pt idx="41">
                  <c:v>0.30496561046396053</c:v>
                </c:pt>
                <c:pt idx="42">
                  <c:v>0.30474260101509459</c:v>
                </c:pt>
                <c:pt idx="43">
                  <c:v>0.30487658997567685</c:v>
                </c:pt>
                <c:pt idx="44">
                  <c:v>0.30417377406912238</c:v>
                </c:pt>
                <c:pt idx="45">
                  <c:v>0.30429474182711519</c:v>
                </c:pt>
                <c:pt idx="46">
                  <c:v>0.30416987037597953</c:v>
                </c:pt>
                <c:pt idx="47">
                  <c:v>0.30177142857142858</c:v>
                </c:pt>
                <c:pt idx="48">
                  <c:v>0.30034428178139644</c:v>
                </c:pt>
                <c:pt idx="49">
                  <c:v>0.30020553910468561</c:v>
                </c:pt>
                <c:pt idx="50">
                  <c:v>0.30020393921120919</c:v>
                </c:pt>
                <c:pt idx="51">
                  <c:v>0.30029572161037082</c:v>
                </c:pt>
                <c:pt idx="52">
                  <c:v>0.30085731375024921</c:v>
                </c:pt>
                <c:pt idx="53">
                  <c:v>0.30374794069192751</c:v>
                </c:pt>
                <c:pt idx="54">
                  <c:v>0.30475569923731716</c:v>
                </c:pt>
                <c:pt idx="55">
                  <c:v>0.30484411191281596</c:v>
                </c:pt>
                <c:pt idx="56">
                  <c:v>0.29666067320451317</c:v>
                </c:pt>
                <c:pt idx="57">
                  <c:v>0.25400835544515327</c:v>
                </c:pt>
                <c:pt idx="58">
                  <c:v>0.23382400369980466</c:v>
                </c:pt>
                <c:pt idx="59">
                  <c:v>0.23943026116791946</c:v>
                </c:pt>
                <c:pt idx="60">
                  <c:v>0.25369491863085675</c:v>
                </c:pt>
                <c:pt idx="61">
                  <c:v>0.26335839430757868</c:v>
                </c:pt>
                <c:pt idx="62">
                  <c:v>0.24811366501794199</c:v>
                </c:pt>
                <c:pt idx="63">
                  <c:v>0.25331883600138116</c:v>
                </c:pt>
                <c:pt idx="64">
                  <c:v>0.27606841827999473</c:v>
                </c:pt>
                <c:pt idx="65">
                  <c:v>0.28160478817918266</c:v>
                </c:pt>
                <c:pt idx="66">
                  <c:v>0.29229782021117312</c:v>
                </c:pt>
                <c:pt idx="67">
                  <c:v>0.30127414335954045</c:v>
                </c:pt>
                <c:pt idx="68">
                  <c:v>0.30305886879569066</c:v>
                </c:pt>
                <c:pt idx="69">
                  <c:v>0.30492991022208221</c:v>
                </c:pt>
                <c:pt idx="70">
                  <c:v>0.30628978911194849</c:v>
                </c:pt>
                <c:pt idx="71">
                  <c:v>0.30507690665654685</c:v>
                </c:pt>
                <c:pt idx="72">
                  <c:v>0.30607670596048481</c:v>
                </c:pt>
                <c:pt idx="73">
                  <c:v>0.3116373241246056</c:v>
                </c:pt>
                <c:pt idx="74">
                  <c:v>0.31424842998124136</c:v>
                </c:pt>
                <c:pt idx="75">
                  <c:v>0.31320176754871626</c:v>
                </c:pt>
                <c:pt idx="76">
                  <c:v>0.31380953870863448</c:v>
                </c:pt>
                <c:pt idx="77">
                  <c:v>0.32590348409435188</c:v>
                </c:pt>
                <c:pt idx="78">
                  <c:v>0.33061711871301291</c:v>
                </c:pt>
                <c:pt idx="79">
                  <c:v>0.33376024237416513</c:v>
                </c:pt>
                <c:pt idx="80">
                  <c:v>0.334863282523373</c:v>
                </c:pt>
                <c:pt idx="81">
                  <c:v>0.33732775797715603</c:v>
                </c:pt>
                <c:pt idx="82">
                  <c:v>0.3340239432262419</c:v>
                </c:pt>
                <c:pt idx="83">
                  <c:v>0.32813911724353323</c:v>
                </c:pt>
                <c:pt idx="84">
                  <c:v>0.32451377453380215</c:v>
                </c:pt>
                <c:pt idx="85">
                  <c:v>0.3242920313313794</c:v>
                </c:pt>
                <c:pt idx="86">
                  <c:v>0.32834757834757833</c:v>
                </c:pt>
                <c:pt idx="87">
                  <c:v>0.33024565689467972</c:v>
                </c:pt>
                <c:pt idx="88">
                  <c:v>0.33047076978575868</c:v>
                </c:pt>
                <c:pt idx="89">
                  <c:v>0.32960364974033468</c:v>
                </c:pt>
                <c:pt idx="90">
                  <c:v>0.32877782475231143</c:v>
                </c:pt>
                <c:pt idx="91">
                  <c:v>0.33265505668454848</c:v>
                </c:pt>
                <c:pt idx="92">
                  <c:v>0.33383080669232584</c:v>
                </c:pt>
                <c:pt idx="93">
                  <c:v>0.33445095599479496</c:v>
                </c:pt>
                <c:pt idx="94">
                  <c:v>0.33425385899470356</c:v>
                </c:pt>
                <c:pt idx="95">
                  <c:v>0.33302358553829059</c:v>
                </c:pt>
                <c:pt idx="96">
                  <c:v>0.3331230702831911</c:v>
                </c:pt>
                <c:pt idx="97">
                  <c:v>0.33248279672509923</c:v>
                </c:pt>
                <c:pt idx="98">
                  <c:v>0.33184443040565192</c:v>
                </c:pt>
                <c:pt idx="99">
                  <c:v>0.31234357273380736</c:v>
                </c:pt>
                <c:pt idx="100">
                  <c:v>0.30123106937136429</c:v>
                </c:pt>
                <c:pt idx="101">
                  <c:v>0.30056872662328632</c:v>
                </c:pt>
              </c:numCache>
            </c:numRef>
          </c:xVal>
          <c:yVal>
            <c:numRef>
              <c:f>Sheet1!$B$2:$B$103</c:f>
              <c:numCache>
                <c:formatCode>General</c:formatCode>
                <c:ptCount val="102"/>
                <c:pt idx="0">
                  <c:v>3.1549194168607006E-2</c:v>
                </c:pt>
                <c:pt idx="1">
                  <c:v>2.5925076493376501E-2</c:v>
                </c:pt>
                <c:pt idx="2">
                  <c:v>1.9457371147598559E-2</c:v>
                </c:pt>
                <c:pt idx="3">
                  <c:v>2.1005226955186754E-2</c:v>
                </c:pt>
                <c:pt idx="4">
                  <c:v>2.3683174888924508E-2</c:v>
                </c:pt>
                <c:pt idx="5">
                  <c:v>2.4814911692122233E-2</c:v>
                </c:pt>
                <c:pt idx="6">
                  <c:v>2.2966901329024649E-2</c:v>
                </c:pt>
                <c:pt idx="7">
                  <c:v>2.1693356757167159E-2</c:v>
                </c:pt>
                <c:pt idx="8">
                  <c:v>2.508474647577718E-2</c:v>
                </c:pt>
                <c:pt idx="9">
                  <c:v>3.2219360006132694E-2</c:v>
                </c:pt>
                <c:pt idx="10">
                  <c:v>3.3455366889535383E-2</c:v>
                </c:pt>
                <c:pt idx="11">
                  <c:v>3.0774205038558523E-2</c:v>
                </c:pt>
                <c:pt idx="12">
                  <c:v>3.166311843777065E-2</c:v>
                </c:pt>
                <c:pt idx="13">
                  <c:v>2.9573633835338665E-2</c:v>
                </c:pt>
                <c:pt idx="14">
                  <c:v>2.9438294749618857E-2</c:v>
                </c:pt>
                <c:pt idx="15">
                  <c:v>3.2326555355538883E-2</c:v>
                </c:pt>
                <c:pt idx="16">
                  <c:v>3.0454183212358377E-2</c:v>
                </c:pt>
                <c:pt idx="17">
                  <c:v>3.0177244147381318E-2</c:v>
                </c:pt>
                <c:pt idx="18">
                  <c:v>3.0949579617420526E-2</c:v>
                </c:pt>
                <c:pt idx="19">
                  <c:v>3.3044676701229417E-2</c:v>
                </c:pt>
                <c:pt idx="20">
                  <c:v>3.4502368865567047E-2</c:v>
                </c:pt>
                <c:pt idx="21">
                  <c:v>3.8171203781773647E-2</c:v>
                </c:pt>
                <c:pt idx="22">
                  <c:v>3.2633840746857157E-2</c:v>
                </c:pt>
                <c:pt idx="23">
                  <c:v>3.22851825867847E-2</c:v>
                </c:pt>
                <c:pt idx="24">
                  <c:v>3.4293774474369265E-2</c:v>
                </c:pt>
                <c:pt idx="25">
                  <c:v>3.3493331489235549E-2</c:v>
                </c:pt>
                <c:pt idx="26">
                  <c:v>3.2256296982208908E-2</c:v>
                </c:pt>
                <c:pt idx="27">
                  <c:v>3.256327154323236E-2</c:v>
                </c:pt>
                <c:pt idx="28">
                  <c:v>3.0215972855570965E-2</c:v>
                </c:pt>
                <c:pt idx="29">
                  <c:v>2.971323515475446E-2</c:v>
                </c:pt>
                <c:pt idx="30">
                  <c:v>2.9886044202056927E-2</c:v>
                </c:pt>
                <c:pt idx="31">
                  <c:v>3.0113049153545669E-2</c:v>
                </c:pt>
                <c:pt idx="32">
                  <c:v>3.0121682992946059E-2</c:v>
                </c:pt>
                <c:pt idx="33">
                  <c:v>2.8704102443482309E-2</c:v>
                </c:pt>
                <c:pt idx="34">
                  <c:v>3.0602403901330309E-2</c:v>
                </c:pt>
                <c:pt idx="35">
                  <c:v>3.1456536502498786E-2</c:v>
                </c:pt>
                <c:pt idx="36">
                  <c:v>3.1516667937295108E-2</c:v>
                </c:pt>
                <c:pt idx="37">
                  <c:v>3.3226585884057164E-2</c:v>
                </c:pt>
                <c:pt idx="38">
                  <c:v>3.3016326225624587E-2</c:v>
                </c:pt>
                <c:pt idx="39">
                  <c:v>3.0075909553288729E-2</c:v>
                </c:pt>
                <c:pt idx="40">
                  <c:v>3.0308227143147046E-2</c:v>
                </c:pt>
                <c:pt idx="41">
                  <c:v>3.1273537834975489E-2</c:v>
                </c:pt>
                <c:pt idx="42">
                  <c:v>3.0059016900147784E-2</c:v>
                </c:pt>
                <c:pt idx="43">
                  <c:v>3.0573863083611635E-2</c:v>
                </c:pt>
                <c:pt idx="44">
                  <c:v>3.254448153409624E-2</c:v>
                </c:pt>
                <c:pt idx="45">
                  <c:v>3.2420025270644671E-2</c:v>
                </c:pt>
                <c:pt idx="46">
                  <c:v>3.0841270586476857E-2</c:v>
                </c:pt>
                <c:pt idx="47">
                  <c:v>3.4545476528939606E-2</c:v>
                </c:pt>
                <c:pt idx="48">
                  <c:v>3.9378011399146942E-2</c:v>
                </c:pt>
                <c:pt idx="49">
                  <c:v>3.4585845792310457E-2</c:v>
                </c:pt>
                <c:pt idx="50">
                  <c:v>3.6889295123608744E-2</c:v>
                </c:pt>
                <c:pt idx="51">
                  <c:v>3.516974061970235E-2</c:v>
                </c:pt>
                <c:pt idx="52">
                  <c:v>3.3440411726256954E-2</c:v>
                </c:pt>
                <c:pt idx="53">
                  <c:v>3.0775515895011849E-2</c:v>
                </c:pt>
                <c:pt idx="54">
                  <c:v>2.856172806220978E-2</c:v>
                </c:pt>
                <c:pt idx="55">
                  <c:v>2.9260191711765828E-2</c:v>
                </c:pt>
                <c:pt idx="56">
                  <c:v>3.1178692703543048E-2</c:v>
                </c:pt>
                <c:pt idx="57">
                  <c:v>3.7031471681131703E-2</c:v>
                </c:pt>
                <c:pt idx="58">
                  <c:v>3.9909501581123753E-2</c:v>
                </c:pt>
                <c:pt idx="59">
                  <c:v>3.3090443177845791E-2</c:v>
                </c:pt>
                <c:pt idx="60">
                  <c:v>2.0429936026239697E-2</c:v>
                </c:pt>
                <c:pt idx="61">
                  <c:v>1.5942339180034886E-2</c:v>
                </c:pt>
                <c:pt idx="62">
                  <c:v>2.6561543645322632E-2</c:v>
                </c:pt>
                <c:pt idx="63">
                  <c:v>3.5068893654044385E-2</c:v>
                </c:pt>
                <c:pt idx="64">
                  <c:v>3.0967228847484717E-2</c:v>
                </c:pt>
                <c:pt idx="65">
                  <c:v>2.6027056162994167E-2</c:v>
                </c:pt>
                <c:pt idx="66">
                  <c:v>2.5871503741223587E-2</c:v>
                </c:pt>
                <c:pt idx="67">
                  <c:v>2.691260699372984E-2</c:v>
                </c:pt>
                <c:pt idx="68">
                  <c:v>2.5874418970458959E-2</c:v>
                </c:pt>
                <c:pt idx="69">
                  <c:v>2.3193315376484971E-2</c:v>
                </c:pt>
                <c:pt idx="70">
                  <c:v>2.2686657383630057E-2</c:v>
                </c:pt>
                <c:pt idx="71">
                  <c:v>2.6189284143623485E-2</c:v>
                </c:pt>
                <c:pt idx="72">
                  <c:v>2.7336338114147821E-2</c:v>
                </c:pt>
                <c:pt idx="73">
                  <c:v>2.7740990571672709E-2</c:v>
                </c:pt>
                <c:pt idx="74">
                  <c:v>2.8775273119844166E-2</c:v>
                </c:pt>
                <c:pt idx="75">
                  <c:v>2.8510329318482425E-2</c:v>
                </c:pt>
                <c:pt idx="76">
                  <c:v>2.7909474603405617E-2</c:v>
                </c:pt>
                <c:pt idx="77">
                  <c:v>2.354699792786898E-2</c:v>
                </c:pt>
                <c:pt idx="78">
                  <c:v>2.3516397046911525E-2</c:v>
                </c:pt>
                <c:pt idx="79">
                  <c:v>2.2115174941799768E-2</c:v>
                </c:pt>
                <c:pt idx="80">
                  <c:v>2.2268202762568419E-2</c:v>
                </c:pt>
                <c:pt idx="81">
                  <c:v>2.1244426266941792E-2</c:v>
                </c:pt>
                <c:pt idx="82">
                  <c:v>3.1177386289303839E-2</c:v>
                </c:pt>
                <c:pt idx="83">
                  <c:v>2.6306476866990773E-2</c:v>
                </c:pt>
                <c:pt idx="84">
                  <c:v>2.5524833007679375E-2</c:v>
                </c:pt>
                <c:pt idx="85">
                  <c:v>2.6871534411513368E-2</c:v>
                </c:pt>
                <c:pt idx="86">
                  <c:v>2.6338851413823878E-2</c:v>
                </c:pt>
                <c:pt idx="87">
                  <c:v>2.4648701089615546E-2</c:v>
                </c:pt>
                <c:pt idx="88">
                  <c:v>2.6238033764437702E-2</c:v>
                </c:pt>
                <c:pt idx="89">
                  <c:v>3.0191859532939729E-2</c:v>
                </c:pt>
                <c:pt idx="90">
                  <c:v>3.0716851696320817E-2</c:v>
                </c:pt>
                <c:pt idx="91">
                  <c:v>3.1790352756617284E-2</c:v>
                </c:pt>
                <c:pt idx="92">
                  <c:v>2.9789485452214992E-2</c:v>
                </c:pt>
                <c:pt idx="93">
                  <c:v>2.7419432969366012E-2</c:v>
                </c:pt>
                <c:pt idx="94">
                  <c:v>2.5375304588112154E-2</c:v>
                </c:pt>
                <c:pt idx="95">
                  <c:v>2.7271435244645044E-2</c:v>
                </c:pt>
                <c:pt idx="96">
                  <c:v>2.4300725205733124E-2</c:v>
                </c:pt>
                <c:pt idx="97">
                  <c:v>2.5953063658202231E-2</c:v>
                </c:pt>
                <c:pt idx="98">
                  <c:v>2.870484051773789E-2</c:v>
                </c:pt>
                <c:pt idx="99">
                  <c:v>3.0161179689259059E-2</c:v>
                </c:pt>
                <c:pt idx="100">
                  <c:v>3.7558407981539428E-2</c:v>
                </c:pt>
                <c:pt idx="101">
                  <c:v>3.5796970668813106E-2</c:v>
                </c:pt>
              </c:numCache>
            </c:numRef>
          </c:yVal>
          <c:smooth val="0"/>
          <c:extLst>
            <c:ext xmlns:c16="http://schemas.microsoft.com/office/drawing/2014/chart" uri="{C3380CC4-5D6E-409C-BE32-E72D297353CC}">
              <c16:uniqueId val="{00000000-F32D-48B7-BC20-E66FC6253BAD}"/>
            </c:ext>
          </c:extLst>
        </c:ser>
        <c:ser>
          <c:idx val="1"/>
          <c:order val="1"/>
          <c:tx>
            <c:strRef>
              <c:f>Sheet1!$B$105</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6:$A$157</c:f>
              <c:numCache>
                <c:formatCode>General</c:formatCode>
                <c:ptCount val="52"/>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numCache>
            </c:numRef>
          </c:xVal>
          <c:yVal>
            <c:numRef>
              <c:f>Sheet1!$B$106:$B$157</c:f>
              <c:numCache>
                <c:formatCode>General</c:formatCode>
                <c:ptCount val="52"/>
                <c:pt idx="0">
                  <c:v>3.3379430772150658E-2</c:v>
                </c:pt>
                <c:pt idx="1">
                  <c:v>3.5297770608354727E-2</c:v>
                </c:pt>
                <c:pt idx="2">
                  <c:v>3.603152077608085E-2</c:v>
                </c:pt>
                <c:pt idx="3">
                  <c:v>3.0978674639028675E-2</c:v>
                </c:pt>
                <c:pt idx="4">
                  <c:v>2.8133515753956471E-2</c:v>
                </c:pt>
                <c:pt idx="5">
                  <c:v>2.7512069607189618E-2</c:v>
                </c:pt>
                <c:pt idx="6">
                  <c:v>2.7535908601076187E-2</c:v>
                </c:pt>
                <c:pt idx="7">
                  <c:v>2.7306049137985969E-2</c:v>
                </c:pt>
                <c:pt idx="8">
                  <c:v>2.6838607545871734E-2</c:v>
                </c:pt>
                <c:pt idx="9">
                  <c:v>2.8577136215520643E-2</c:v>
                </c:pt>
                <c:pt idx="10">
                  <c:v>2.9045708307140341E-2</c:v>
                </c:pt>
                <c:pt idx="11">
                  <c:v>3.0151694267354034E-2</c:v>
                </c:pt>
                <c:pt idx="12">
                  <c:v>3.1278274774940926E-2</c:v>
                </c:pt>
                <c:pt idx="13">
                  <c:v>3.2623144271831599E-2</c:v>
                </c:pt>
                <c:pt idx="14">
                  <c:v>3.2081452766552027E-2</c:v>
                </c:pt>
                <c:pt idx="15">
                  <c:v>2.8476513020004538E-2</c:v>
                </c:pt>
                <c:pt idx="16">
                  <c:v>2.8897929262062423E-2</c:v>
                </c:pt>
                <c:pt idx="17">
                  <c:v>2.8572345272906727E-2</c:v>
                </c:pt>
                <c:pt idx="18">
                  <c:v>2.7582157287634194E-2</c:v>
                </c:pt>
                <c:pt idx="19">
                  <c:v>2.6684207925807661E-2</c:v>
                </c:pt>
                <c:pt idx="20">
                  <c:v>2.5074098168638374E-2</c:v>
                </c:pt>
                <c:pt idx="21">
                  <c:v>3.7053775555914395E-2</c:v>
                </c:pt>
                <c:pt idx="22">
                  <c:v>4.1201839145334811E-2</c:v>
                </c:pt>
                <c:pt idx="23">
                  <c:v>3.952108516249337E-2</c:v>
                </c:pt>
                <c:pt idx="24">
                  <c:v>3.301132678213544E-2</c:v>
                </c:pt>
                <c:pt idx="25">
                  <c:v>3.4672282379825628E-2</c:v>
                </c:pt>
                <c:pt idx="26">
                  <c:v>3.6478521099227869E-2</c:v>
                </c:pt>
                <c:pt idx="27">
                  <c:v>3.1719960612283417E-2</c:v>
                </c:pt>
                <c:pt idx="28">
                  <c:v>2.9844699099281863E-2</c:v>
                </c:pt>
                <c:pt idx="29">
                  <c:v>2.8247037929351546E-2</c:v>
                </c:pt>
                <c:pt idx="30">
                  <c:v>2.3926861689124793E-2</c:v>
                </c:pt>
                <c:pt idx="31">
                  <c:v>2.0770671408149036E-2</c:v>
                </c:pt>
                <c:pt idx="32">
                  <c:v>2.3460558709885785E-2</c:v>
                </c:pt>
                <c:pt idx="33">
                  <c:v>3.0427962862070307E-2</c:v>
                </c:pt>
                <c:pt idx="34">
                  <c:v>3.1037706913624008E-2</c:v>
                </c:pt>
                <c:pt idx="35">
                  <c:v>2.928997264422914E-2</c:v>
                </c:pt>
                <c:pt idx="36">
                  <c:v>2.9697936908540855E-2</c:v>
                </c:pt>
                <c:pt idx="37">
                  <c:v>3.0248130900335804E-2</c:v>
                </c:pt>
                <c:pt idx="38">
                  <c:v>3.5070387750061743E-2</c:v>
                </c:pt>
                <c:pt idx="39">
                  <c:v>3.1208337770205517E-2</c:v>
                </c:pt>
                <c:pt idx="40">
                  <c:v>2.6826790166755026E-2</c:v>
                </c:pt>
                <c:pt idx="41">
                  <c:v>2.4203784771293646E-2</c:v>
                </c:pt>
                <c:pt idx="42">
                  <c:v>2.4098053977022377E-2</c:v>
                </c:pt>
                <c:pt idx="43">
                  <c:v>2.4523754132153155E-2</c:v>
                </c:pt>
                <c:pt idx="44">
                  <c:v>2.2379504666963371E-2</c:v>
                </c:pt>
                <c:pt idx="45">
                  <c:v>2.104065524243157E-2</c:v>
                </c:pt>
                <c:pt idx="46">
                  <c:v>2.2028240128902143E-2</c:v>
                </c:pt>
                <c:pt idx="47">
                  <c:v>2.3321641522021073E-2</c:v>
                </c:pt>
                <c:pt idx="48">
                  <c:v>2.5721900660138006E-2</c:v>
                </c:pt>
                <c:pt idx="49">
                  <c:v>2.4967370312040958E-2</c:v>
                </c:pt>
                <c:pt idx="50">
                  <c:v>2.6033359791458374E-2</c:v>
                </c:pt>
                <c:pt idx="51">
                  <c:v>2.5702227757022279E-2</c:v>
                </c:pt>
              </c:numCache>
            </c:numRef>
          </c:yVal>
          <c:smooth val="0"/>
          <c:extLst>
            <c:ext xmlns:c16="http://schemas.microsoft.com/office/drawing/2014/chart" uri="{C3380CC4-5D6E-409C-BE32-E72D297353CC}">
              <c16:uniqueId val="{00000002-F32D-48B7-BC20-E66FC6253BAD}"/>
            </c:ext>
          </c:extLst>
        </c:ser>
        <c:ser>
          <c:idx val="2"/>
          <c:order val="2"/>
          <c:tx>
            <c:strRef>
              <c:f>Sheet1!$B$159</c:f>
              <c:strCache>
                <c:ptCount val="1"/>
                <c:pt idx="0">
                  <c:v>Custom Linep3yQ</c:v>
                </c:pt>
              </c:strCache>
            </c:strRef>
          </c:tx>
          <c:spPr>
            <a:ln w="19050" cap="rnd">
              <a:solidFill>
                <a:srgbClr val="C00000"/>
              </a:solidFill>
              <a:prstDash val="sysDot"/>
              <a:round/>
            </a:ln>
            <a:effectLst/>
          </c:spPr>
          <c:marker>
            <c:symbol val="none"/>
          </c:marker>
          <c:xVal>
            <c:numRef>
              <c:f>Sheet1!$A$160:$A$161</c:f>
              <c:numCache>
                <c:formatCode>General</c:formatCode>
                <c:ptCount val="2"/>
                <c:pt idx="0">
                  <c:v>0</c:v>
                </c:pt>
                <c:pt idx="1">
                  <c:v>0.27575744047645689</c:v>
                </c:pt>
              </c:numCache>
            </c:numRef>
          </c:xVal>
          <c:yVal>
            <c:numRef>
              <c:f>Sheet1!$B$160:$B$161</c:f>
              <c:numCache>
                <c:formatCode>General</c:formatCode>
                <c:ptCount val="2"/>
                <c:pt idx="0">
                  <c:v>3.3390590546211449E-2</c:v>
                </c:pt>
                <c:pt idx="1">
                  <c:v>3.3390590546211449E-2</c:v>
                </c:pt>
              </c:numCache>
            </c:numRef>
          </c:yVal>
          <c:smooth val="0"/>
          <c:extLst>
            <c:ext xmlns:c16="http://schemas.microsoft.com/office/drawing/2014/chart" uri="{C3380CC4-5D6E-409C-BE32-E72D297353CC}">
              <c16:uniqueId val="{00000003-F32D-48B7-BC20-E66FC6253BAD}"/>
            </c:ext>
          </c:extLst>
        </c:ser>
        <c:ser>
          <c:idx val="3"/>
          <c:order val="3"/>
          <c:tx>
            <c:strRef>
              <c:f>Sheet1!$B$16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4:$A$165</c:f>
              <c:numCache>
                <c:formatCode>General</c:formatCode>
                <c:ptCount val="2"/>
                <c:pt idx="0">
                  <c:v>0.27575744047645689</c:v>
                </c:pt>
                <c:pt idx="1">
                  <c:v>0.27575744047645689</c:v>
                </c:pt>
              </c:numCache>
            </c:numRef>
          </c:xVal>
          <c:yVal>
            <c:numRef>
              <c:f>Sheet1!$B$164:$B$165</c:f>
              <c:numCache>
                <c:formatCode>General</c:formatCode>
                <c:ptCount val="2"/>
                <c:pt idx="0">
                  <c:v>3.3390590546211449E-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68:$A$169</c:f>
              <c:numCache>
                <c:formatCode>General</c:formatCode>
                <c:ptCount val="2"/>
                <c:pt idx="0">
                  <c:v>0</c:v>
                </c:pt>
                <c:pt idx="1">
                  <c:v>0.28987004975079905</c:v>
                </c:pt>
              </c:numCache>
            </c:numRef>
          </c:xVal>
          <c:yVal>
            <c:numRef>
              <c:f>Sheet1!$B$168:$B$169</c:f>
              <c:numCache>
                <c:formatCode>General</c:formatCode>
                <c:ptCount val="2"/>
                <c:pt idx="0">
                  <c:v>3.1101577984060606E-2</c:v>
                </c:pt>
                <c:pt idx="1">
                  <c:v>3.1101577984060606E-2</c:v>
                </c:pt>
              </c:numCache>
            </c:numRef>
          </c:yVal>
          <c:smooth val="0"/>
          <c:extLst>
            <c:ext xmlns:c16="http://schemas.microsoft.com/office/drawing/2014/chart" uri="{C3380CC4-5D6E-409C-BE32-E72D297353CC}">
              <c16:uniqueId val="{0000000A-F32D-48B7-BC20-E66FC6253BAD}"/>
            </c:ext>
          </c:extLst>
        </c:ser>
        <c:ser>
          <c:idx val="5"/>
          <c:order val="5"/>
          <c:tx>
            <c:strRef>
              <c:f>Sheet1!$B$17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2:$A$173</c:f>
              <c:numCache>
                <c:formatCode>General</c:formatCode>
                <c:ptCount val="2"/>
                <c:pt idx="0">
                  <c:v>0.28987004975079905</c:v>
                </c:pt>
                <c:pt idx="1">
                  <c:v>0.28987004975079905</c:v>
                </c:pt>
              </c:numCache>
            </c:numRef>
          </c:xVal>
          <c:yVal>
            <c:numRef>
              <c:f>Sheet1!$B$172:$B$173</c:f>
              <c:numCache>
                <c:formatCode>General</c:formatCode>
                <c:ptCount val="2"/>
                <c:pt idx="0">
                  <c:v>3.1101577984060606E-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6:$A$177</c:f>
              <c:numCache>
                <c:formatCode>General</c:formatCode>
                <c:ptCount val="2"/>
                <c:pt idx="0">
                  <c:v>0</c:v>
                </c:pt>
                <c:pt idx="1">
                  <c:v>0.32888493428125432</c:v>
                </c:pt>
              </c:numCache>
            </c:numRef>
          </c:xVal>
          <c:yVal>
            <c:numRef>
              <c:f>Sheet1!$B$176:$B$177</c:f>
              <c:numCache>
                <c:formatCode>General</c:formatCode>
                <c:ptCount val="2"/>
                <c:pt idx="0">
                  <c:v>2.47735092998775E-2</c:v>
                </c:pt>
                <c:pt idx="1">
                  <c:v>2.47735092998775E-2</c:v>
                </c:pt>
              </c:numCache>
            </c:numRef>
          </c:yVal>
          <c:smooth val="0"/>
          <c:extLst>
            <c:ext xmlns:c16="http://schemas.microsoft.com/office/drawing/2014/chart" uri="{C3380CC4-5D6E-409C-BE32-E72D297353CC}">
              <c16:uniqueId val="{00000011-F32D-48B7-BC20-E66FC6253BAD}"/>
            </c:ext>
          </c:extLst>
        </c:ser>
        <c:ser>
          <c:idx val="7"/>
          <c:order val="7"/>
          <c:tx>
            <c:strRef>
              <c:f>Sheet1!$B$17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0:$A$181</c:f>
              <c:numCache>
                <c:formatCode>General</c:formatCode>
                <c:ptCount val="2"/>
                <c:pt idx="0">
                  <c:v>0.32888493428125432</c:v>
                </c:pt>
                <c:pt idx="1">
                  <c:v>0.32888493428125432</c:v>
                </c:pt>
              </c:numCache>
            </c:numRef>
          </c:xVal>
          <c:yVal>
            <c:numRef>
              <c:f>Sheet1!$B$180:$B$181</c:f>
              <c:numCache>
                <c:formatCode>General</c:formatCode>
                <c:ptCount val="2"/>
                <c:pt idx="0">
                  <c:v>2.47735092998775E-2</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4:$A$238</c:f>
              <c:numCache>
                <c:formatCode>General</c:formatCode>
                <c:ptCount val="55"/>
                <c:pt idx="0">
                  <c:v>0.30027537524725595</c:v>
                </c:pt>
                <c:pt idx="1">
                  <c:v>0.29730075765563574</c:v>
                </c:pt>
                <c:pt idx="2">
                  <c:v>0.29570200573065902</c:v>
                </c:pt>
                <c:pt idx="3">
                  <c:v>0.31448021921561914</c:v>
                </c:pt>
                <c:pt idx="4">
                  <c:v>0.33136177347242923</c:v>
                </c:pt>
                <c:pt idx="5">
                  <c:v>0.33307270569173086</c:v>
                </c:pt>
                <c:pt idx="6">
                  <c:v>0.33166752613567108</c:v>
                </c:pt>
                <c:pt idx="7">
                  <c:v>0.32586147285928319</c:v>
                </c:pt>
                <c:pt idx="8">
                  <c:v>0.31186722804269068</c:v>
                </c:pt>
                <c:pt idx="9">
                  <c:v>0.30198819791193826</c:v>
                </c:pt>
                <c:pt idx="10">
                  <c:v>0.30628135699314296</c:v>
                </c:pt>
                <c:pt idx="11">
                  <c:v>0.30602333467440657</c:v>
                </c:pt>
                <c:pt idx="12">
                  <c:v>0.29599216121535848</c:v>
                </c:pt>
                <c:pt idx="13">
                  <c:v>0.28623885717046615</c:v>
                </c:pt>
                <c:pt idx="14">
                  <c:v>0.28762365644494919</c:v>
                </c:pt>
                <c:pt idx="15">
                  <c:v>0.28755131664484873</c:v>
                </c:pt>
                <c:pt idx="16">
                  <c:v>0.28696280840471483</c:v>
                </c:pt>
                <c:pt idx="17">
                  <c:v>0.28721064015831377</c:v>
                </c:pt>
                <c:pt idx="18">
                  <c:v>0.29348244533415463</c:v>
                </c:pt>
                <c:pt idx="19">
                  <c:v>0.29535592713126096</c:v>
                </c:pt>
                <c:pt idx="20">
                  <c:v>0.30310070671378092</c:v>
                </c:pt>
                <c:pt idx="21">
                  <c:v>0.27957046979865774</c:v>
                </c:pt>
                <c:pt idx="22">
                  <c:v>0.27481983984144448</c:v>
                </c:pt>
                <c:pt idx="23">
                  <c:v>0.27548250343981256</c:v>
                </c:pt>
                <c:pt idx="24">
                  <c:v>0.28012175754367391</c:v>
                </c:pt>
                <c:pt idx="25">
                  <c:v>0.27280133678058677</c:v>
                </c:pt>
                <c:pt idx="26">
                  <c:v>0.27771501091111694</c:v>
                </c:pt>
                <c:pt idx="27">
                  <c:v>0.2855107271521517</c:v>
                </c:pt>
                <c:pt idx="28">
                  <c:v>0.29356558010196199</c:v>
                </c:pt>
                <c:pt idx="29">
                  <c:v>0.30956778721832284</c:v>
                </c:pt>
                <c:pt idx="30">
                  <c:v>0.32728343570080654</c:v>
                </c:pt>
                <c:pt idx="31">
                  <c:v>0.31941787470419025</c:v>
                </c:pt>
                <c:pt idx="32">
                  <c:v>0.30471954470877771</c:v>
                </c:pt>
                <c:pt idx="33">
                  <c:v>0.28065140307185249</c:v>
                </c:pt>
                <c:pt idx="34">
                  <c:v>0.2753120191485724</c:v>
                </c:pt>
                <c:pt idx="35">
                  <c:v>0.28568123522607253</c:v>
                </c:pt>
                <c:pt idx="36">
                  <c:v>0.27818359016915462</c:v>
                </c:pt>
                <c:pt idx="37">
                  <c:v>0.27050935580097063</c:v>
                </c:pt>
                <c:pt idx="38">
                  <c:v>0.26423557848742618</c:v>
                </c:pt>
                <c:pt idx="39">
                  <c:v>0.28109459102114626</c:v>
                </c:pt>
                <c:pt idx="40">
                  <c:v>0.30709199718129132</c:v>
                </c:pt>
                <c:pt idx="41">
                  <c:v>0.32477327621564966</c:v>
                </c:pt>
                <c:pt idx="42">
                  <c:v>0.33804664553802577</c:v>
                </c:pt>
                <c:pt idx="43">
                  <c:v>0.33756549556009047</c:v>
                </c:pt>
                <c:pt idx="44">
                  <c:v>0.33948168007149243</c:v>
                </c:pt>
                <c:pt idx="45">
                  <c:v>0.3363289691114783</c:v>
                </c:pt>
                <c:pt idx="46">
                  <c:v>0.32200980018787922</c:v>
                </c:pt>
                <c:pt idx="47">
                  <c:v>0.31968596619805895</c:v>
                </c:pt>
                <c:pt idx="48">
                  <c:v>0.31261259437685973</c:v>
                </c:pt>
                <c:pt idx="49">
                  <c:v>0.32155361155853052</c:v>
                </c:pt>
                <c:pt idx="50">
                  <c:v>0.33041269591242028</c:v>
                </c:pt>
                <c:pt idx="51">
                  <c:v>0.33073599206630305</c:v>
                </c:pt>
                <c:pt idx="52">
                  <c:v>0.28987004975079905</c:v>
                </c:pt>
                <c:pt idx="53">
                  <c:v>0.27575744047645689</c:v>
                </c:pt>
                <c:pt idx="54">
                  <c:v>0.32888493428125432</c:v>
                </c:pt>
              </c:numCache>
            </c:numRef>
          </c:xVal>
          <c:yVal>
            <c:numRef>
              <c:f>Sheet1!$B$184:$B$238</c:f>
              <c:numCache>
                <c:formatCode>General</c:formatCode>
                <c:ptCount val="55"/>
                <c:pt idx="0">
                  <c:v>2.9413873016704839E-2</c:v>
                </c:pt>
                <c:pt idx="1">
                  <c:v>2.9896344890080709E-2</c:v>
                </c:pt>
                <c:pt idx="2">
                  <c:v>3.0155656486461964E-2</c:v>
                </c:pt>
                <c:pt idx="3">
                  <c:v>2.7109900331363727E-2</c:v>
                </c:pt>
                <c:pt idx="4">
                  <c:v>2.4371775225560388E-2</c:v>
                </c:pt>
                <c:pt idx="5">
                  <c:v>2.4094268404047922E-2</c:v>
                </c:pt>
                <c:pt idx="6">
                  <c:v>2.4322183284519114E-2</c:v>
                </c:pt>
                <c:pt idx="7">
                  <c:v>2.5263903460272262E-2</c:v>
                </c:pt>
                <c:pt idx="8">
                  <c:v>2.7533717749061021E-2</c:v>
                </c:pt>
                <c:pt idx="9">
                  <c:v>2.9136059572005948E-2</c:v>
                </c:pt>
                <c:pt idx="10">
                  <c:v>2.8439725189245424E-2</c:v>
                </c:pt>
                <c:pt idx="11">
                  <c:v>2.8481575446516888E-2</c:v>
                </c:pt>
                <c:pt idx="12">
                  <c:v>3.0108594349578348E-2</c:v>
                </c:pt>
                <c:pt idx="13">
                  <c:v>3.169054387055209E-2</c:v>
                </c:pt>
                <c:pt idx="14">
                  <c:v>3.1465934595702259E-2</c:v>
                </c:pt>
                <c:pt idx="15">
                  <c:v>3.1477667841337743E-2</c:v>
                </c:pt>
                <c:pt idx="16">
                  <c:v>3.1573121681829512E-2</c:v>
                </c:pt>
                <c:pt idx="17">
                  <c:v>3.1532924296196564E-2</c:v>
                </c:pt>
                <c:pt idx="18">
                  <c:v>3.0515660900336583E-2</c:v>
                </c:pt>
                <c:pt idx="19">
                  <c:v>3.0211789143868836E-2</c:v>
                </c:pt>
                <c:pt idx="20">
                  <c:v>2.8955614795748236E-2</c:v>
                </c:pt>
                <c:pt idx="21">
                  <c:v>3.2772131418724967E-2</c:v>
                </c:pt>
                <c:pt idx="22">
                  <c:v>3.3542665870490845E-2</c:v>
                </c:pt>
                <c:pt idx="23">
                  <c:v>3.3435184307609174E-2</c:v>
                </c:pt>
                <c:pt idx="24">
                  <c:v>3.268271460365052E-2</c:v>
                </c:pt>
                <c:pt idx="25">
                  <c:v>3.3870059534782497E-2</c:v>
                </c:pt>
                <c:pt idx="26">
                  <c:v>3.3073079926514877E-2</c:v>
                </c:pt>
                <c:pt idx="27">
                  <c:v>3.1808643842456727E-2</c:v>
                </c:pt>
                <c:pt idx="28">
                  <c:v>3.0502176751221188E-2</c:v>
                </c:pt>
                <c:pt idx="29">
                  <c:v>2.7906678470255915E-2</c:v>
                </c:pt>
                <c:pt idx="30">
                  <c:v>2.5033266393526828E-2</c:v>
                </c:pt>
                <c:pt idx="31">
                  <c:v>2.630903103630991E-2</c:v>
                </c:pt>
                <c:pt idx="32">
                  <c:v>2.8693045313762239E-2</c:v>
                </c:pt>
                <c:pt idx="33">
                  <c:v>3.2596808075387743E-2</c:v>
                </c:pt>
                <c:pt idx="34">
                  <c:v>3.3462836223474769E-2</c:v>
                </c:pt>
                <c:pt idx="35">
                  <c:v>3.1780988069129081E-2</c:v>
                </c:pt>
                <c:pt idx="36">
                  <c:v>3.2997078119396075E-2</c:v>
                </c:pt>
                <c:pt idx="37">
                  <c:v>3.4241810296995578E-2</c:v>
                </c:pt>
                <c:pt idx="38">
                  <c:v>3.5259393566231922E-2</c:v>
                </c:pt>
                <c:pt idx="39">
                  <c:v>3.2524924643797831E-2</c:v>
                </c:pt>
                <c:pt idx="40">
                  <c:v>2.8308242375685959E-2</c:v>
                </c:pt>
                <c:pt idx="41">
                  <c:v>2.54404048951909E-2</c:v>
                </c:pt>
                <c:pt idx="42">
                  <c:v>2.3287513921568817E-2</c:v>
                </c:pt>
                <c:pt idx="43">
                  <c:v>2.3365554652546534E-2</c:v>
                </c:pt>
                <c:pt idx="44">
                  <c:v>2.3054756675168077E-2</c:v>
                </c:pt>
                <c:pt idx="45">
                  <c:v>2.3566114628330095E-2</c:v>
                </c:pt>
                <c:pt idx="46">
                  <c:v>2.5888630394799238E-2</c:v>
                </c:pt>
                <c:pt idx="47">
                  <c:v>2.6265547596405793E-2</c:v>
                </c:pt>
                <c:pt idx="48">
                  <c:v>2.7412822111043234E-2</c:v>
                </c:pt>
                <c:pt idx="49">
                  <c:v>2.5962622488181153E-2</c:v>
                </c:pt>
                <c:pt idx="50">
                  <c:v>2.4525712064247307E-2</c:v>
                </c:pt>
                <c:pt idx="51">
                  <c:v>2.4473274634488791E-2</c:v>
                </c:pt>
                <c:pt idx="52">
                  <c:v>3.1101577984060602E-2</c:v>
                </c:pt>
                <c:pt idx="53">
                  <c:v>3.3390590546211449E-2</c:v>
                </c:pt>
                <c:pt idx="54">
                  <c:v>2.4773509299877497E-2</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0.40737801608579088"/>
          <c:min val="0.18705920295984374"/>
        </c:scaling>
        <c:delete val="0"/>
        <c:axPos val="b"/>
        <c:title>
          <c:tx>
            <c:rich>
              <a:bodyPr rot="0" spcFirstLastPara="1" vertOverflow="ellipsis" vert="horz" wrap="square" anchor="ctr" anchorCtr="1"/>
              <a:lstStyle/>
              <a:p>
                <a:pPr>
                  <a:defRPr sz="800" b="0">
                    <a:latin typeface="Nexa Bold"/>
                  </a:defRPr>
                </a:pPr>
                <a:r>
                  <a:rPr lang="en-US"/>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4.944220697440177E-2"/>
          <c:min val="1.275387134402791E-2"/>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98E9881-82FF-4254-9409-13EFC67D49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56E344D-5BEB-468E-B904-125A3F5FCE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D6ED5F4-5E3F-4BF9-B0A0-38994018B6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ABE49D0-A135-47B6-ABAF-7E0B9AEEFD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1C68B81-8C2B-4859-93C2-CFBDC7E6C9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0EF6004-E331-483D-A3F9-AB6822789B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AB6F7D6-F38E-45BB-889A-1BD93D95E3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A2A9CA5-D6FD-4C0F-B0BC-FCEF285BE4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427C459-0224-4526-918C-6BC91D852B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E4BD9A0-DA1E-4D50-8484-618F57A6D3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C296590-BB08-429C-A3F3-6EC711FD72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73BD68B-5C57-4EBD-B532-927BBCF835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3A83D29-90C7-494F-9BF2-344030AA3B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FB68483-B49A-4AB4-A8F6-EAAA9F18BF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E4EDA24-35C2-4167-9441-F76F571F07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67278E9-4443-4210-8F14-334CBD0839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4E2E1054-C434-4146-9F83-F25CE3557B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4633D8F2-DE43-4B57-9C67-C3DA7D562F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D4223AFD-9404-4637-A5B9-8038118584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48D51493-2127-4229-8060-EB44B58DE3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0D1757AA-6A11-40A6-ADD6-1AAD287A6E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23E03100-32C8-4E90-8A0A-49DBCAA640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4E734B77-BFB1-48B2-81FE-F95C8E8169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FB614576-623B-49ED-AEAE-4157EB45BB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79FE384-59F3-45DF-BD7A-D0B5DF25E1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CB713DC-51B1-4060-8016-005BFED8B2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9F7534E-7D4F-4DB6-A0E5-1BE44D019C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B7C9CCA-F20F-4BED-9014-9D48B9FB47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664E4E2-7110-4FCB-8534-0E72426050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CC00E66-62BA-4136-9555-91C9785687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00D2FCF-56D0-4820-9541-37E23104B5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66C6C7E-24B2-47EC-9EBB-6E6737006C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0BEBB437-C51B-4431-A177-7B24891C69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2D67D7CB-79F2-46C5-966B-8784538C00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4862B4DA-9142-40BB-ABC4-000EE207B1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D3DAC5B4-DD16-4309-B96F-B692ABAA10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E25A003A-873F-4020-B342-79AB34FF1A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BF595ADD-C491-4B65-B4E0-E1AC55B450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D4BC3320-1878-48FF-832E-3CB9461C8F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868F9751-7B82-433A-807B-3D61FA0DF9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CB27C372-BCAA-4957-BAE6-7186B70717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F7FFA112-EB96-471E-B031-CDDC6AA218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0844B38E-EA92-4778-9167-AF6988AFAC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02908A42-2718-4E21-84A8-DB375F6542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B53F2DD9-63E9-4180-BD7D-2FA7CF2589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94AAB71B-3B16-40A4-9B7F-85308423BD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CE56BB7B-7D1C-48BE-9C76-03F09E4664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642000D9-8549-4226-9934-68EF13B74B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A1D4E49-A479-41D8-8C5A-20EF3CC0FD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B9B0745-2647-49A9-AAB6-02E83D273F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9B06210-C4FC-43A9-90D8-01CBEF6B97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E743FB2-8073-4032-BDC0-F08A9D3CE6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73EF4A5-45A8-4229-9B75-C9FDF486B3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D2368FE-1BB2-4A45-92B0-2DFDAB5DA2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03DE2A3-7F7B-494E-8895-1512C11D0F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55FFFEA-E3CD-453E-8EC0-89AC0E5A6A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A18C1836-5ACC-42E3-8AEF-CD8886657D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BABF61C2-D105-4CE7-9340-B1F6B61DBD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4B83AC97-6DFB-4B32-9C07-8421423B16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189BF4DB-5B23-4A7E-AE2B-FA1DCA9A40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F2A7AC3D-F50E-44B5-B94C-34AFE0B62C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6460A4A2-1412-4459-A41E-CC903D5F02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A1807365-E964-4902-9682-68CF8C783C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91B2979B-CD27-47E1-B001-2E1917CB3D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BCBBBB"/>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BCBBB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BCBBB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BCBBB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BCBBB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BCBBB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BCBBB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BCBBB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BCBBB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BCBBB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BCBBB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BCBBB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BCBBB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BCBBB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BCBBB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BCBBB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D$2:$D$33</c:f>
              <c:numCache>
                <c:formatCode>General</c:formatCode>
                <c:ptCount val="32"/>
                <c:pt idx="0">
                  <c:v>929</c:v>
                </c:pt>
                <c:pt idx="1">
                  <c:v>500</c:v>
                </c:pt>
                <c:pt idx="2">
                  <c:v>591</c:v>
                </c:pt>
                <c:pt idx="3">
                  <c:v>300</c:v>
                </c:pt>
                <c:pt idx="4">
                  <c:v>888</c:v>
                </c:pt>
                <c:pt idx="5">
                  <c:v>400</c:v>
                </c:pt>
                <c:pt idx="6">
                  <c:v>247</c:v>
                </c:pt>
                <c:pt idx="7">
                  <c:v>100</c:v>
                </c:pt>
                <c:pt idx="8">
                  <c:v>727</c:v>
                </c:pt>
                <c:pt idx="9">
                  <c:v>700</c:v>
                </c:pt>
                <c:pt idx="10">
                  <c:v>405</c:v>
                </c:pt>
                <c:pt idx="11">
                  <c:v>300</c:v>
                </c:pt>
                <c:pt idx="12">
                  <c:v>929</c:v>
                </c:pt>
                <c:pt idx="13">
                  <c:v>500</c:v>
                </c:pt>
                <c:pt idx="14">
                  <c:v>591</c:v>
                </c:pt>
                <c:pt idx="15">
                  <c:v>300</c:v>
                </c:pt>
                <c:pt idx="16">
                  <c:v>888</c:v>
                </c:pt>
                <c:pt idx="17">
                  <c:v>400</c:v>
                </c:pt>
                <c:pt idx="18">
                  <c:v>247</c:v>
                </c:pt>
                <c:pt idx="19">
                  <c:v>100</c:v>
                </c:pt>
                <c:pt idx="20">
                  <c:v>727</c:v>
                </c:pt>
                <c:pt idx="21">
                  <c:v>700</c:v>
                </c:pt>
                <c:pt idx="22">
                  <c:v>405</c:v>
                </c:pt>
                <c:pt idx="23">
                  <c:v>300</c:v>
                </c:pt>
                <c:pt idx="24">
                  <c:v>405</c:v>
                </c:pt>
                <c:pt idx="25">
                  <c:v>300</c:v>
                </c:pt>
                <c:pt idx="26">
                  <c:v>405</c:v>
                </c:pt>
                <c:pt idx="27">
                  <c:v>300</c:v>
                </c:pt>
                <c:pt idx="28">
                  <c:v>405</c:v>
                </c:pt>
                <c:pt idx="29">
                  <c:v>300</c:v>
                </c:pt>
                <c:pt idx="30">
                  <c:v>405</c:v>
                </c:pt>
                <c:pt idx="31">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rPr lang="en-US" dirty="0"/>
                      <a:t>2.72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rPr lang="en-US" dirty="0"/>
                      <a:t>1.49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rPr lang="en-US" dirty="0"/>
                      <a:t>8.2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rPr lang="en-US" dirty="0"/>
                      <a:t>4.33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33</c:f>
              <c:multiLvlStrCache>
                <c:ptCount val="32"/>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pt idx="24">
                    <c:v>Total</c:v>
                  </c:pt>
                  <c:pt idx="25">
                    <c:v>Brand</c:v>
                  </c:pt>
                  <c:pt idx="26">
                    <c:v>Total</c:v>
                  </c:pt>
                  <c:pt idx="27">
                    <c:v>Brand</c:v>
                  </c:pt>
                  <c:pt idx="28">
                    <c:v>Total</c:v>
                  </c:pt>
                  <c:pt idx="29">
                    <c:v>Brand</c:v>
                  </c:pt>
                  <c:pt idx="30">
                    <c:v>Total</c:v>
                  </c:pt>
                  <c:pt idx="31">
                    <c:v>Brand</c:v>
                  </c:pt>
                </c:lvl>
                <c:lvl>
                  <c:pt idx="0">
                    <c:v>Segment 1</c:v>
                  </c:pt>
                  <c:pt idx="2">
                    <c:v>Segment 2</c:v>
                  </c:pt>
                  <c:pt idx="4">
                    <c:v>Segment 3</c:v>
                  </c:pt>
                  <c:pt idx="6">
                    <c:v>Segment 4</c:v>
                  </c:pt>
                  <c:pt idx="8">
                    <c:v>Segment 5</c:v>
                  </c:pt>
                  <c:pt idx="10">
                    <c:v>Segment 6</c:v>
                  </c:pt>
                  <c:pt idx="12">
                    <c:v>Segment 1</c:v>
                  </c:pt>
                  <c:pt idx="14">
                    <c:v>Segment 2</c:v>
                  </c:pt>
                  <c:pt idx="16">
                    <c:v>Segment 3</c:v>
                  </c:pt>
                  <c:pt idx="18">
                    <c:v>Segment 4</c:v>
                  </c:pt>
                  <c:pt idx="20">
                    <c:v>Segment 5</c:v>
                  </c:pt>
                  <c:pt idx="22">
                    <c:v>Segment 6</c:v>
                  </c:pt>
                  <c:pt idx="24">
                    <c:v>Segment 6</c:v>
                  </c:pt>
                  <c:pt idx="26">
                    <c:v>Segment 6</c:v>
                  </c:pt>
                  <c:pt idx="28">
                    <c:v>Segment 6</c:v>
                  </c:pt>
                  <c:pt idx="30">
                    <c:v>Segment 6</c:v>
                  </c:pt>
                </c:lvl>
                <c:lvl>
                  <c:pt idx="0">
                    <c:v>Sector 1</c:v>
                  </c:pt>
                  <c:pt idx="6">
                    <c:v>Sector 2</c:v>
                  </c:pt>
                  <c:pt idx="10">
                    <c:v>Sector 3</c:v>
                  </c:pt>
                  <c:pt idx="12">
                    <c:v>Sector 4</c:v>
                  </c:pt>
                  <c:pt idx="18">
                    <c:v>Sector 5</c:v>
                  </c:pt>
                  <c:pt idx="22">
                    <c:v>Sector 6</c:v>
                  </c:pt>
                  <c:pt idx="24">
                    <c:v>Sector 7</c:v>
                  </c:pt>
                  <c:pt idx="26">
                    <c:v>Sector 8</c:v>
                  </c:pt>
                  <c:pt idx="28">
                    <c:v>Sector 9</c:v>
                  </c:pt>
                  <c:pt idx="30">
                    <c:v>Sector 10</c:v>
                  </c:pt>
                </c:lvl>
              </c:multiLvlStrCache>
            </c:multiLvlStrRef>
          </c:cat>
          <c:val>
            <c:numRef>
              <c:f>Sheet1!$E$2:$E$33</c:f>
              <c:numCache>
                <c:formatCode>General</c:formatCode>
                <c:ptCount val="32"/>
                <c:pt idx="0">
                  <c:v>0.29826161699999998</c:v>
                </c:pt>
                <c:pt idx="1">
                  <c:v>0.59826161700000002</c:v>
                </c:pt>
                <c:pt idx="2">
                  <c:v>0.498850813</c:v>
                </c:pt>
                <c:pt idx="3">
                  <c:v>0.498850813</c:v>
                </c:pt>
                <c:pt idx="4">
                  <c:v>0.29227220399999998</c:v>
                </c:pt>
                <c:pt idx="5">
                  <c:v>0.29227220399999998</c:v>
                </c:pt>
                <c:pt idx="6">
                  <c:v>0.652209857</c:v>
                </c:pt>
                <c:pt idx="7">
                  <c:v>0.652209857</c:v>
                </c:pt>
                <c:pt idx="8">
                  <c:v>0.273252524</c:v>
                </c:pt>
                <c:pt idx="9">
                  <c:v>7.3252523999999999E-2</c:v>
                </c:pt>
                <c:pt idx="10">
                  <c:v>0.47286242899999997</c:v>
                </c:pt>
                <c:pt idx="11">
                  <c:v>0.47286242899999997</c:v>
                </c:pt>
                <c:pt idx="12">
                  <c:v>0.29826161699999998</c:v>
                </c:pt>
                <c:pt idx="13">
                  <c:v>0.59826161700000002</c:v>
                </c:pt>
                <c:pt idx="14">
                  <c:v>0.498850813</c:v>
                </c:pt>
                <c:pt idx="15">
                  <c:v>0.498850813</c:v>
                </c:pt>
                <c:pt idx="16">
                  <c:v>0.29227220399999998</c:v>
                </c:pt>
                <c:pt idx="17">
                  <c:v>0.29227220399999998</c:v>
                </c:pt>
                <c:pt idx="18">
                  <c:v>0.652209857</c:v>
                </c:pt>
                <c:pt idx="19">
                  <c:v>0.652209857</c:v>
                </c:pt>
                <c:pt idx="20">
                  <c:v>0.273252524</c:v>
                </c:pt>
                <c:pt idx="21">
                  <c:v>7.3252523999999999E-2</c:v>
                </c:pt>
                <c:pt idx="22">
                  <c:v>0.47286242899999997</c:v>
                </c:pt>
                <c:pt idx="23">
                  <c:v>0.47286242899999997</c:v>
                </c:pt>
                <c:pt idx="24">
                  <c:v>0.47286242899999997</c:v>
                </c:pt>
                <c:pt idx="25">
                  <c:v>0.47286242899999997</c:v>
                </c:pt>
                <c:pt idx="26">
                  <c:v>0.47286242899999997</c:v>
                </c:pt>
                <c:pt idx="27">
                  <c:v>0.47286242899999997</c:v>
                </c:pt>
                <c:pt idx="28">
                  <c:v>0.47286242899999997</c:v>
                </c:pt>
                <c:pt idx="29">
                  <c:v>0.47286242899999997</c:v>
                </c:pt>
                <c:pt idx="30">
                  <c:v>0.47286242899999997</c:v>
                </c:pt>
                <c:pt idx="31">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B5DB9233-D76E-4B7E-A784-F439326334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0254D90D-182A-4B9F-B4F3-5952F3D3F9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BD079929-062D-4EF0-AEF9-DB0CA514E0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675FEFBA-5F28-47E1-BF91-31FABD390E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16FDEF92-AF29-4F2B-AF59-BC96E9F212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6E7C8B89-6DF5-46AE-A088-32E7AB0995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4E2C3680-3F9D-4A7B-9DFC-CBD44238A1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71-46D6-BBFE-7C00E0D51738}"/>
                </c:ext>
              </c:extLst>
            </c:dLbl>
            <c:dLbl>
              <c:idx val="8"/>
              <c:tx>
                <c:rich>
                  <a:bodyPr/>
                  <a:lstStyle/>
                  <a:p>
                    <a:fld id="{0B78A1A8-D97C-4550-9F13-CA9EB47C3B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CA-4C16-90F6-A0D9A3D8DA8E}"/>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CA-4C16-90F6-A0D9A3D8DA8E}"/>
                </c:ext>
              </c:extLst>
            </c:dLbl>
            <c:dLbl>
              <c:idx val="1"/>
              <c:tx>
                <c:rich>
                  <a:bodyPr/>
                  <a:lstStyle/>
                  <a:p>
                    <a:fld id="{FD6FCA40-E340-4A66-9BD8-F24FC5CC37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CA-4C16-90F6-A0D9A3D8DA8E}"/>
                </c:ext>
              </c:extLst>
            </c:dLbl>
            <c:dLbl>
              <c:idx val="2"/>
              <c:tx>
                <c:rich>
                  <a:bodyPr/>
                  <a:lstStyle/>
                  <a:p>
                    <a:fld id="{9C8A120C-7AF7-420B-862A-93EB8C0406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CA-4C16-90F6-A0D9A3D8DA8E}"/>
                </c:ext>
              </c:extLst>
            </c:dLbl>
            <c:dLbl>
              <c:idx val="3"/>
              <c:tx>
                <c:rich>
                  <a:bodyPr/>
                  <a:lstStyle/>
                  <a:p>
                    <a:fld id="{7C9D7AD1-B2E1-436C-B33A-39BFDF14D2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CA-4C16-90F6-A0D9A3D8DA8E}"/>
                </c:ext>
              </c:extLst>
            </c:dLbl>
            <c:dLbl>
              <c:idx val="4"/>
              <c:tx>
                <c:rich>
                  <a:bodyPr/>
                  <a:lstStyle/>
                  <a:p>
                    <a:fld id="{56B4EA60-107F-4DB4-9976-8F538F7ECF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CA-4C16-90F6-A0D9A3D8DA8E}"/>
                </c:ext>
              </c:extLst>
            </c:dLbl>
            <c:dLbl>
              <c:idx val="5"/>
              <c:tx>
                <c:rich>
                  <a:bodyPr/>
                  <a:lstStyle/>
                  <a:p>
                    <a:fld id="{07E976B4-8A7D-440A-9884-0DC51F5699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CA-4C16-90F6-A0D9A3D8DA8E}"/>
                </c:ext>
              </c:extLst>
            </c:dLbl>
            <c:dLbl>
              <c:idx val="6"/>
              <c:tx>
                <c:rich>
                  <a:bodyPr/>
                  <a:lstStyle/>
                  <a:p>
                    <a:fld id="{CEFCE283-4588-474D-BC66-942C3AFDBF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CA-4C16-90F6-A0D9A3D8DA8E}"/>
                </c:ext>
              </c:extLst>
            </c:dLbl>
            <c:dLbl>
              <c:idx val="7"/>
              <c:tx>
                <c:rich>
                  <a:bodyPr/>
                  <a:lstStyle/>
                  <a:p>
                    <a:fld id="{E43F5C1A-1C5A-495E-BF7B-E8B1300D46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D8CA-4C16-90F6-A0D9A3D8DA8E}"/>
                </c:ext>
              </c:extLst>
            </c:dLbl>
            <c:dLbl>
              <c:idx val="8"/>
              <c:tx>
                <c:rich>
                  <a:bodyPr/>
                  <a:lstStyle/>
                  <a:p>
                    <a:fld id="{8B051E0E-1391-41FD-A456-D4B129786D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D8CA-4C16-90F6-A0D9A3D8DA8E}"/>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0.70921100937988657</c:v>
                </c:pt>
                <c:pt idx="1">
                  <c:v>3.215304236657754</c:v>
                </c:pt>
                <c:pt idx="2">
                  <c:v>2.846513106998958</c:v>
                </c:pt>
                <c:pt idx="3">
                  <c:v>3.1042423398706882</c:v>
                </c:pt>
                <c:pt idx="4">
                  <c:v>3.4598085720854241</c:v>
                </c:pt>
                <c:pt idx="5">
                  <c:v>4.1896401362779754</c:v>
                </c:pt>
                <c:pt idx="6">
                  <c:v>4.1046825421229656</c:v>
                </c:pt>
                <c:pt idx="7">
                  <c:v>3.720641956502869</c:v>
                </c:pt>
                <c:pt idx="8">
                  <c:v>2.8413169794633562</c:v>
                </c:pt>
              </c:numCache>
            </c:numRef>
          </c:xVal>
          <c:yVal>
            <c:numRef>
              <c:f>Sheet1!$B$2:$B$10</c:f>
              <c:numCache>
                <c:formatCode>General</c:formatCode>
                <c:ptCount val="9"/>
                <c:pt idx="0">
                  <c:v>0.52796599709834691</c:v>
                </c:pt>
                <c:pt idx="1">
                  <c:v>2.0358798712225208</c:v>
                </c:pt>
                <c:pt idx="2">
                  <c:v>2.247499585982875</c:v>
                </c:pt>
                <c:pt idx="3">
                  <c:v>1.584925272054214</c:v>
                </c:pt>
                <c:pt idx="4">
                  <c:v>1.9073868683590141</c:v>
                </c:pt>
                <c:pt idx="5">
                  <c:v>2.05989844621311</c:v>
                </c:pt>
                <c:pt idx="6">
                  <c:v>2.018622244706759</c:v>
                </c:pt>
                <c:pt idx="7">
                  <c:v>1.7371869914932301</c:v>
                </c:pt>
                <c:pt idx="8">
                  <c:v>1.7573866010195469</c:v>
                </c:pt>
              </c:numCache>
            </c:numRef>
          </c:yVal>
          <c:bubbleSize>
            <c:numRef>
              <c:f>Sheet1!$C$2:$C$10</c:f>
              <c:numCache>
                <c:formatCode>General</c:formatCode>
                <c:ptCount val="9"/>
                <c:pt idx="0">
                  <c:v>302831245</c:v>
                </c:pt>
                <c:pt idx="1">
                  <c:v>121073535</c:v>
                </c:pt>
                <c:pt idx="2">
                  <c:v>33924914</c:v>
                </c:pt>
                <c:pt idx="3">
                  <c:v>30638071</c:v>
                </c:pt>
                <c:pt idx="4">
                  <c:v>15259977</c:v>
                </c:pt>
                <c:pt idx="5">
                  <c:v>14508397</c:v>
                </c:pt>
                <c:pt idx="6">
                  <c:v>14016280</c:v>
                </c:pt>
                <c:pt idx="7">
                  <c:v>13287417</c:v>
                </c:pt>
                <c:pt idx="8">
                  <c:v>11950977</c:v>
                </c:pt>
              </c:numCache>
            </c:numRef>
          </c:bubbleSize>
          <c:bubble3D val="0"/>
          <c:extLst>
            <c:ext xmlns:c15="http://schemas.microsoft.com/office/drawing/2012/chart" uri="{02D57815-91ED-43cb-92C2-25804820EDAC}">
              <c15:datalabelsRange>
                <c15:f>Sheet1!$E$2:$E$10</c15:f>
                <c15:dlblRangeCache>
                  <c:ptCount val="9"/>
                  <c:pt idx="0">
                    <c:v>Brand 1</c:v>
                  </c:pt>
                  <c:pt idx="1">
                    <c:v>Brand 2</c:v>
                  </c:pt>
                  <c:pt idx="2">
                    <c:v>Brand 3</c:v>
                  </c:pt>
                  <c:pt idx="3">
                    <c:v>Brand 4</c:v>
                  </c:pt>
                  <c:pt idx="4">
                    <c:v>Brand 5</c:v>
                  </c:pt>
                  <c:pt idx="5">
                    <c:v>Brand 6</c:v>
                  </c:pt>
                  <c:pt idx="6">
                    <c:v>Brand 7</c:v>
                  </c:pt>
                  <c:pt idx="7">
                    <c:v>Brand 8</c:v>
                  </c:pt>
                  <c:pt idx="8">
                    <c:v>Brand 9</c:v>
                  </c:pt>
                </c15:dlblRangeCache>
              </c15:datalabelsRange>
            </c:ext>
            <c:ext xmlns:c16="http://schemas.microsoft.com/office/drawing/2014/chart" uri="{C3380CC4-5D6E-409C-BE32-E72D297353CC}">
              <c16:uniqueId val="{00000009-D8CA-4C16-90F6-A0D9A3D8DA8E}"/>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BCBBBB"/>
            </a:solidFill>
            <a:ln>
              <a:noFill/>
            </a:ln>
            <a:effectLst/>
          </c:spPr>
          <c:invertIfNegative val="0"/>
          <c:dPt>
            <c:idx val="0"/>
            <c:invertIfNegative val="0"/>
            <c:bubble3D val="0"/>
            <c:spPr>
              <a:solidFill>
                <a:srgbClr val="BCBBB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BCBBBB"/>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BCBBB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BCBBB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BCBBB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BCBBB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BCBBB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BCBBB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BCBBB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BCBBB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BCBBB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BCBBB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BCBBB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C$2:$C$25</c:f>
              <c:numCache>
                <c:formatCode>General</c:formatCode>
                <c:ptCount val="24"/>
                <c:pt idx="0" formatCode="0">
                  <c:v>929.20266300000003</c:v>
                </c:pt>
                <c:pt idx="1">
                  <c:v>500</c:v>
                </c:pt>
                <c:pt idx="2" formatCode="0">
                  <c:v>247.234047</c:v>
                </c:pt>
                <c:pt idx="3">
                  <c:v>100</c:v>
                </c:pt>
                <c:pt idx="4" formatCode="0">
                  <c:v>405.40043900000001</c:v>
                </c:pt>
                <c:pt idx="5">
                  <c:v>300</c:v>
                </c:pt>
                <c:pt idx="6" formatCode="0">
                  <c:v>929.20266300000003</c:v>
                </c:pt>
                <c:pt idx="7">
                  <c:v>500</c:v>
                </c:pt>
                <c:pt idx="8" formatCode="0">
                  <c:v>247.234047</c:v>
                </c:pt>
                <c:pt idx="9">
                  <c:v>100</c:v>
                </c:pt>
                <c:pt idx="10" formatCode="0">
                  <c:v>405.40043900000001</c:v>
                </c:pt>
                <c:pt idx="11">
                  <c:v>300</c:v>
                </c:pt>
                <c:pt idx="12" formatCode="0">
                  <c:v>929.20266300000003</c:v>
                </c:pt>
                <c:pt idx="13">
                  <c:v>500</c:v>
                </c:pt>
                <c:pt idx="14" formatCode="0">
                  <c:v>247.234047</c:v>
                </c:pt>
                <c:pt idx="15">
                  <c:v>100</c:v>
                </c:pt>
                <c:pt idx="16" formatCode="0">
                  <c:v>405.40043900000001</c:v>
                </c:pt>
                <c:pt idx="17">
                  <c:v>300</c:v>
                </c:pt>
                <c:pt idx="18" formatCode="0">
                  <c:v>929.20266300000003</c:v>
                </c:pt>
                <c:pt idx="19">
                  <c:v>500</c:v>
                </c:pt>
                <c:pt idx="20" formatCode="0">
                  <c:v>247.234047</c:v>
                </c:pt>
                <c:pt idx="21">
                  <c:v>100</c:v>
                </c:pt>
                <c:pt idx="22" formatCode="0">
                  <c:v>405.40043900000001</c:v>
                </c:pt>
                <c:pt idx="23">
                  <c:v>3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25</c:f>
              <c:multiLvlStrCache>
                <c:ptCount val="24"/>
                <c:lvl>
                  <c:pt idx="0">
                    <c:v>Total</c:v>
                  </c:pt>
                  <c:pt idx="1">
                    <c:v>Brand</c:v>
                  </c:pt>
                  <c:pt idx="2">
                    <c:v>Total</c:v>
                  </c:pt>
                  <c:pt idx="3">
                    <c:v>Brand</c:v>
                  </c:pt>
                  <c:pt idx="4">
                    <c:v>Total</c:v>
                  </c:pt>
                  <c:pt idx="5">
                    <c:v>Brand</c:v>
                  </c:pt>
                  <c:pt idx="6">
                    <c:v>Total</c:v>
                  </c:pt>
                  <c:pt idx="7">
                    <c:v>Brand</c:v>
                  </c:pt>
                  <c:pt idx="8">
                    <c:v>Total</c:v>
                  </c:pt>
                  <c:pt idx="9">
                    <c:v>Brand</c:v>
                  </c:pt>
                  <c:pt idx="10">
                    <c:v>Total</c:v>
                  </c:pt>
                  <c:pt idx="11">
                    <c:v>Brand</c:v>
                  </c:pt>
                  <c:pt idx="12">
                    <c:v>Total</c:v>
                  </c:pt>
                  <c:pt idx="13">
                    <c:v>Brand</c:v>
                  </c:pt>
                  <c:pt idx="14">
                    <c:v>Total</c:v>
                  </c:pt>
                  <c:pt idx="15">
                    <c:v>Brand</c:v>
                  </c:pt>
                  <c:pt idx="16">
                    <c:v>Total</c:v>
                  </c:pt>
                  <c:pt idx="17">
                    <c:v>Brand</c:v>
                  </c:pt>
                  <c:pt idx="18">
                    <c:v>Total</c:v>
                  </c:pt>
                  <c:pt idx="19">
                    <c:v>Brand</c:v>
                  </c:pt>
                  <c:pt idx="20">
                    <c:v>Total</c:v>
                  </c:pt>
                  <c:pt idx="21">
                    <c:v>Brand</c:v>
                  </c:pt>
                  <c:pt idx="22">
                    <c:v>Total</c:v>
                  </c:pt>
                  <c:pt idx="23">
                    <c:v>Brand</c:v>
                  </c:pt>
                </c:lvl>
                <c:lvl>
                  <c:pt idx="0">
                    <c:v>Sector 1</c:v>
                  </c:pt>
                  <c:pt idx="2">
                    <c:v>Sector 2</c:v>
                  </c:pt>
                  <c:pt idx="4">
                    <c:v>Sector 3</c:v>
                  </c:pt>
                  <c:pt idx="6">
                    <c:v>Sector 4</c:v>
                  </c:pt>
                  <c:pt idx="8">
                    <c:v>Sector 5</c:v>
                  </c:pt>
                  <c:pt idx="10">
                    <c:v>Sector 6</c:v>
                  </c:pt>
                  <c:pt idx="12">
                    <c:v>Sector 7</c:v>
                  </c:pt>
                  <c:pt idx="14">
                    <c:v>Sector 8</c:v>
                  </c:pt>
                  <c:pt idx="16">
                    <c:v>Sector 9</c:v>
                  </c:pt>
                  <c:pt idx="18">
                    <c:v>Sector 10</c:v>
                  </c:pt>
                  <c:pt idx="20">
                    <c:v>Sector 11</c:v>
                  </c:pt>
                  <c:pt idx="22">
                    <c:v>Sector 12</c:v>
                  </c:pt>
                </c:lvl>
              </c:multiLvlStrCache>
            </c:multiLvlStrRef>
          </c:cat>
          <c:val>
            <c:numRef>
              <c:f>Sheet1!$D$2:$D$25</c:f>
              <c:numCache>
                <c:formatCode>General</c:formatCode>
                <c:ptCount val="24"/>
                <c:pt idx="0">
                  <c:v>0.298261616935378</c:v>
                </c:pt>
                <c:pt idx="1">
                  <c:v>0.59826161699999991</c:v>
                </c:pt>
                <c:pt idx="2">
                  <c:v>0.65220985741012805</c:v>
                </c:pt>
                <c:pt idx="3">
                  <c:v>0.652209857</c:v>
                </c:pt>
                <c:pt idx="4">
                  <c:v>0.47286242948104018</c:v>
                </c:pt>
                <c:pt idx="5">
                  <c:v>0.47286242899999997</c:v>
                </c:pt>
                <c:pt idx="6">
                  <c:v>0.298261616935378</c:v>
                </c:pt>
                <c:pt idx="7">
                  <c:v>0.59826161699999991</c:v>
                </c:pt>
                <c:pt idx="8">
                  <c:v>0.65220985741012805</c:v>
                </c:pt>
                <c:pt idx="9">
                  <c:v>0.652209857</c:v>
                </c:pt>
                <c:pt idx="10">
                  <c:v>0.47286242948104018</c:v>
                </c:pt>
                <c:pt idx="11">
                  <c:v>0.47286242899999997</c:v>
                </c:pt>
                <c:pt idx="12">
                  <c:v>0.298261616935378</c:v>
                </c:pt>
                <c:pt idx="13">
                  <c:v>0.59826161699999991</c:v>
                </c:pt>
                <c:pt idx="14">
                  <c:v>0.65220985741012805</c:v>
                </c:pt>
                <c:pt idx="15">
                  <c:v>0.652209857</c:v>
                </c:pt>
                <c:pt idx="16">
                  <c:v>0.47286242948104018</c:v>
                </c:pt>
                <c:pt idx="17">
                  <c:v>0.47286242899999997</c:v>
                </c:pt>
                <c:pt idx="18">
                  <c:v>0.298261616935378</c:v>
                </c:pt>
                <c:pt idx="19">
                  <c:v>0.59826161699999991</c:v>
                </c:pt>
                <c:pt idx="20">
                  <c:v>0.65220985741012805</c:v>
                </c:pt>
                <c:pt idx="21">
                  <c:v>0.652209857</c:v>
                </c:pt>
                <c:pt idx="22">
                  <c:v>0.47286242948104018</c:v>
                </c:pt>
                <c:pt idx="23">
                  <c:v>0.472862428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defRPr>
      </a:pPr>
      <a:endParaRPr lang="en-CH"/>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400g</c:v>
                </c:pt>
                <c:pt idx="1">
                  <c:v>420g</c:v>
                </c:pt>
                <c:pt idx="2">
                  <c:v>540g</c:v>
                </c:pt>
                <c:pt idx="3">
                  <c:v>400g</c:v>
                </c:pt>
                <c:pt idx="4">
                  <c:v>390g</c:v>
                </c:pt>
                <c:pt idx="5">
                  <c:v>420g</c:v>
                </c:pt>
                <c:pt idx="6">
                  <c:v>400g</c:v>
                </c:pt>
                <c:pt idx="7">
                  <c:v>1000g</c:v>
                </c:pt>
                <c:pt idx="8">
                  <c:v>400g</c:v>
                </c:pt>
                <c:pt idx="9">
                  <c:v>400g</c:v>
                </c:pt>
                <c:pt idx="10">
                  <c:v>410g</c:v>
                </c:pt>
                <c:pt idx="11">
                  <c:v>350g</c:v>
                </c:pt>
              </c:strCache>
            </c:strRef>
          </c:cat>
          <c:val>
            <c:numRef>
              <c:f>Sheet1!$B$2:$B$13</c:f>
              <c:numCache>
                <c:formatCode>0.00</c:formatCode>
                <c:ptCount val="12"/>
                <c:pt idx="0">
                  <c:v>31.95</c:v>
                </c:pt>
                <c:pt idx="1">
                  <c:v>31.95</c:v>
                </c:pt>
                <c:pt idx="2">
                  <c:v>43.5</c:v>
                </c:pt>
                <c:pt idx="3">
                  <c:v>42.95</c:v>
                </c:pt>
                <c:pt idx="4">
                  <c:v>31.95</c:v>
                </c:pt>
                <c:pt idx="5">
                  <c:v>31.95</c:v>
                </c:pt>
                <c:pt idx="6">
                  <c:v>31.95</c:v>
                </c:pt>
                <c:pt idx="7">
                  <c:v>56.95</c:v>
                </c:pt>
                <c:pt idx="8">
                  <c:v>31.95</c:v>
                </c:pt>
                <c:pt idx="9">
                  <c:v>31.95</c:v>
                </c:pt>
                <c:pt idx="10">
                  <c:v>31.95</c:v>
                </c:pt>
                <c:pt idx="11">
                  <c:v>42.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spPr>
            <a:ln w="28575" cap="rnd">
              <a:noFill/>
              <a:round/>
            </a:ln>
            <a:effectLst/>
          </c:spPr>
          <c:marker>
            <c:symbol val="circle"/>
            <c:size val="8"/>
            <c:spPr>
              <a:solidFill>
                <a:schemeClr val="accent3"/>
              </a:solidFill>
              <a:ln w="12700">
                <a:solidFill>
                  <a:schemeClr val="bg1"/>
                </a:solidFill>
              </a:ln>
              <a:effectLst/>
            </c:spPr>
          </c:marker>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400g</c:v>
                </c:pt>
                <c:pt idx="1">
                  <c:v>420g</c:v>
                </c:pt>
                <c:pt idx="2">
                  <c:v>540g</c:v>
                </c:pt>
                <c:pt idx="3">
                  <c:v>400g</c:v>
                </c:pt>
                <c:pt idx="4">
                  <c:v>390g</c:v>
                </c:pt>
                <c:pt idx="5">
                  <c:v>420g</c:v>
                </c:pt>
                <c:pt idx="6">
                  <c:v>400g</c:v>
                </c:pt>
                <c:pt idx="7">
                  <c:v>1000g</c:v>
                </c:pt>
                <c:pt idx="8">
                  <c:v>390g</c:v>
                </c:pt>
                <c:pt idx="9">
                  <c:v>500g</c:v>
                </c:pt>
                <c:pt idx="10">
                  <c:v>420g</c:v>
                </c:pt>
                <c:pt idx="11">
                  <c:v>400g</c:v>
                </c:pt>
                <c:pt idx="12">
                  <c:v>1000g</c:v>
                </c:pt>
                <c:pt idx="13">
                  <c:v>390g</c:v>
                </c:pt>
                <c:pt idx="14">
                  <c:v>500g</c:v>
                </c:pt>
                <c:pt idx="15">
                  <c:v>420g</c:v>
                </c:pt>
                <c:pt idx="16">
                  <c:v>400g</c:v>
                </c:pt>
                <c:pt idx="17">
                  <c:v>1000g</c:v>
                </c:pt>
                <c:pt idx="18">
                  <c:v>390g</c:v>
                </c:pt>
                <c:pt idx="19">
                  <c:v>500g</c:v>
                </c:pt>
              </c:strCache>
            </c:strRef>
          </c:cat>
          <c:val>
            <c:numRef>
              <c:f>Sheet1!$B$2:$B$21</c:f>
              <c:numCache>
                <c:formatCode>0.00</c:formatCode>
                <c:ptCount val="20"/>
                <c:pt idx="0">
                  <c:v>31.95</c:v>
                </c:pt>
                <c:pt idx="1">
                  <c:v>31.95</c:v>
                </c:pt>
                <c:pt idx="2">
                  <c:v>43.5</c:v>
                </c:pt>
                <c:pt idx="3">
                  <c:v>42.95</c:v>
                </c:pt>
                <c:pt idx="4">
                  <c:v>31.95</c:v>
                </c:pt>
                <c:pt idx="5">
                  <c:v>31.95</c:v>
                </c:pt>
                <c:pt idx="6">
                  <c:v>31.95</c:v>
                </c:pt>
                <c:pt idx="7">
                  <c:v>56.95</c:v>
                </c:pt>
                <c:pt idx="8">
                  <c:v>42.95</c:v>
                </c:pt>
                <c:pt idx="9">
                  <c:v>31.95</c:v>
                </c:pt>
                <c:pt idx="10">
                  <c:v>31.95</c:v>
                </c:pt>
                <c:pt idx="11">
                  <c:v>31.95</c:v>
                </c:pt>
                <c:pt idx="12">
                  <c:v>56.95</c:v>
                </c:pt>
                <c:pt idx="13">
                  <c:v>42.95</c:v>
                </c:pt>
                <c:pt idx="14">
                  <c:v>31.95</c:v>
                </c:pt>
                <c:pt idx="15">
                  <c:v>31.95</c:v>
                </c:pt>
                <c:pt idx="16">
                  <c:v>31.95</c:v>
                </c:pt>
                <c:pt idx="17">
                  <c:v>56.95</c:v>
                </c:pt>
                <c:pt idx="18">
                  <c:v>42.95</c:v>
                </c:pt>
                <c:pt idx="19">
                  <c:v>31.9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min val="25"/>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majorUnit val="5"/>
        <c:min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ML</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B$2:$B$5</c:f>
              <c:numCache>
                <c:formatCode>General</c:formatCode>
                <c:ptCount val="4"/>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15ML</c:v>
                </c:pt>
              </c:strCache>
            </c:strRef>
          </c:tx>
          <c:spPr>
            <a:ln w="19050">
              <a:noFill/>
            </a:ln>
          </c:spPr>
          <c:marker>
            <c:symbol val="dash"/>
            <c:size val="20"/>
            <c:spPr>
              <a:solidFill>
                <a:srgbClr val="FF99FF"/>
              </a:solidFill>
              <a:ln w="9525">
                <a:noFill/>
              </a:ln>
              <a:effectLst/>
            </c:spPr>
          </c:marker>
          <c:cat>
            <c:strRef>
              <c:f>Sheet1!$A$2:$A$5</c:f>
              <c:strCache>
                <c:ptCount val="4"/>
                <c:pt idx="0">
                  <c:v>Ultra</c:v>
                </c:pt>
                <c:pt idx="1">
                  <c:v>Bear Brand</c:v>
                </c:pt>
                <c:pt idx="2">
                  <c:v>Indomilk</c:v>
                </c:pt>
                <c:pt idx="3">
                  <c:v>Frisian Flag</c:v>
                </c:pt>
              </c:strCache>
            </c:strRef>
          </c:cat>
          <c:val>
            <c:numRef>
              <c:f>Sheet1!$C$2:$C$5</c:f>
              <c:numCache>
                <c:formatCode>General</c:formatCode>
                <c:ptCount val="4"/>
                <c:pt idx="2" formatCode="&quot;Rp&quot;#,##0;\-&quot;Rp&quot;#,##0;&quot;Rp&quot;#,##0">
                  <c:v>2882.33903289782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ML</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D$2:$D$5</c:f>
              <c:numCache>
                <c:formatCode>General</c:formatCode>
                <c:ptCount val="4"/>
                <c:pt idx="0" formatCode="&quot;Rp&quot;#,##0;\-&quot;Rp&quot;#,##0;&quot;Rp&quot;#,##0">
                  <c:v>2950.9867049619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0ML</c:v>
                </c:pt>
              </c:strCache>
            </c:strRef>
          </c:tx>
          <c:spPr>
            <a:ln w="19050">
              <a:noFill/>
            </a:ln>
          </c:spPr>
          <c:marker>
            <c:symbol val="dash"/>
            <c:size val="20"/>
            <c:spPr>
              <a:solidFill>
                <a:srgbClr val="7030A0"/>
              </a:solidFill>
              <a:ln w="9525">
                <a:noFill/>
              </a:ln>
              <a:effectLst/>
            </c:spPr>
          </c:marker>
          <c:dLbls>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E$2:$E$5</c:f>
              <c:numCache>
                <c:formatCode>General</c:formatCode>
                <c:ptCount val="4"/>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cat>
            <c:strRef>
              <c:f>Sheet1!$A$2:$A$5</c:f>
              <c:strCache>
                <c:ptCount val="4"/>
                <c:pt idx="0">
                  <c:v>Ultra</c:v>
                </c:pt>
                <c:pt idx="1">
                  <c:v>Bear Brand</c:v>
                </c:pt>
                <c:pt idx="2">
                  <c:v>Indomilk</c:v>
                </c:pt>
                <c:pt idx="3">
                  <c:v>Frisian Flag</c:v>
                </c:pt>
              </c:strCache>
            </c:strRef>
          </c:cat>
          <c:val>
            <c:numRef>
              <c:f>Sheet1!$F$2:$F$5</c:f>
              <c:numCache>
                <c:formatCode>General</c:formatCode>
                <c:ptCount val="4"/>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G$2:$G$5</c:f>
              <c:numCache>
                <c:formatCode>"Rp"#,##0;\-"Rp"#,##0;"Rp"#,##0</c:formatCode>
                <c:ptCount val="4"/>
                <c:pt idx="1">
                  <c:v>10486.92809809597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H$2:$H$5</c:f>
              <c:numCache>
                <c:formatCode>General</c:formatCode>
                <c:ptCount val="4"/>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ML</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I$2:$I$5</c:f>
              <c:numCache>
                <c:formatCode>General</c:formatCode>
                <c:ptCount val="4"/>
                <c:pt idx="0" formatCode="&quot;Rp&quot;#,##0;\-&quot;Rp&quot;#,##0;&quot;Rp&quot;#,##0">
                  <c:v>4978.416721190491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ML</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J$2:$J$5</c:f>
              <c:numCache>
                <c:formatCode>General</c:formatCode>
                <c:ptCount val="4"/>
                <c:pt idx="3" formatCode="&quot;Rp&quot;#,##0;\-&quot;Rp&quot;#,##0;&quot;Rp&quot;#,##0">
                  <c:v>6022.681412870361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ML</c:v>
                </c:pt>
              </c:strCache>
            </c:strRef>
          </c:tx>
          <c:spPr>
            <a:ln w="19050">
              <a:noFill/>
            </a:ln>
          </c:spPr>
          <c:marker>
            <c:symbol val="dash"/>
            <c:size val="20"/>
            <c:spPr>
              <a:solidFill>
                <a:schemeClr val="accent4">
                  <a:lumMod val="40000"/>
                  <a:lumOff val="60000"/>
                </a:schemeClr>
              </a:solidFill>
              <a:ln>
                <a:noFill/>
              </a:ln>
            </c:spPr>
          </c:marker>
          <c:cat>
            <c:strRef>
              <c:f>Sheet1!$A$2:$A$5</c:f>
              <c:strCache>
                <c:ptCount val="4"/>
                <c:pt idx="0">
                  <c:v>Ultra</c:v>
                </c:pt>
                <c:pt idx="1">
                  <c:v>Bear Brand</c:v>
                </c:pt>
                <c:pt idx="2">
                  <c:v>Indomilk</c:v>
                </c:pt>
                <c:pt idx="3">
                  <c:v>Frisian Flag</c:v>
                </c:pt>
              </c:strCache>
            </c:strRef>
          </c:cat>
          <c:val>
            <c:numRef>
              <c:f>Sheet1!$K$2:$K$5</c:f>
              <c:numCache>
                <c:formatCode>General</c:formatCode>
                <c:ptCount val="4"/>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0ML</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L$2:$L$5</c:f>
              <c:numCache>
                <c:formatCode>General</c:formatCode>
                <c:ptCount val="4"/>
                <c:pt idx="0" formatCode="&quot;Rp&quot;#,##0;\-&quot;Rp&quot;#,##0;&quot;Rp&quot;#,##0">
                  <c:v>6205.32908312987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Ultra</c:v>
                </c:pt>
                <c:pt idx="1">
                  <c:v>Bear Brand</c:v>
                </c:pt>
                <c:pt idx="2">
                  <c:v>Indomilk</c:v>
                </c:pt>
                <c:pt idx="3">
                  <c:v>Frisian Flag</c:v>
                </c:pt>
              </c:strCache>
            </c:strRef>
          </c:cat>
          <c:val>
            <c:numRef>
              <c:f>Sheet1!$M$2:$M$5</c:f>
              <c:numCache>
                <c:formatCode>General</c:formatCode>
                <c:ptCount val="4"/>
                <c:pt idx="3" formatCode="&quot;Rp&quot;#,##0;\-&quot;Rp&quot;#,##0;&quot;Rp&quot;#,##0">
                  <c:v>17582.68441376948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50ML</c:v>
                </c:pt>
              </c:strCache>
            </c:strRef>
          </c:tx>
          <c:spPr>
            <a:ln w="19050">
              <a:noFill/>
            </a:ln>
          </c:spPr>
          <c:marker>
            <c:symbol val="dash"/>
            <c:size val="20"/>
          </c:marker>
          <c:cat>
            <c:strRef>
              <c:f>Sheet1!$A$2:$A$5</c:f>
              <c:strCache>
                <c:ptCount val="4"/>
                <c:pt idx="0">
                  <c:v>Ultra</c:v>
                </c:pt>
                <c:pt idx="1">
                  <c:v>Bear Brand</c:v>
                </c:pt>
                <c:pt idx="2">
                  <c:v>Indomilk</c:v>
                </c:pt>
                <c:pt idx="3">
                  <c:v>Frisian Flag</c:v>
                </c:pt>
              </c:strCache>
            </c:strRef>
          </c:cat>
          <c:val>
            <c:numRef>
              <c:f>Sheet1!$N$2:$N$5</c:f>
              <c:numCache>
                <c:formatCode>General</c:formatCode>
                <c:ptCount val="4"/>
                <c:pt idx="2" formatCode="&quot;Rp&quot;#,##0;\-&quot;Rp&quot;#,##0;&quot;Rp&quot;#,##0">
                  <c:v>16830.7828525434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Ultra</c:v>
                </c:pt>
                <c:pt idx="1">
                  <c:v>Bear Brand</c:v>
                </c:pt>
                <c:pt idx="2">
                  <c:v>Indomilk</c:v>
                </c:pt>
                <c:pt idx="3">
                  <c:v>Frisian Flag</c:v>
                </c:pt>
              </c:strCache>
            </c:strRef>
          </c:cat>
          <c:val>
            <c:numRef>
              <c:f>Sheet1!$O$2:$O$5</c:f>
              <c:numCache>
                <c:formatCode>General</c:formatCode>
                <c:ptCount val="4"/>
                <c:pt idx="0" formatCode="&quot;Rp&quot;#,##0;\-&quot;Rp&quot;#,##0;&quot;Rp&quot;#,##0">
                  <c:v>18190.20056413124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10ML</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C$2:$C$10</c:f>
              <c:numCache>
                <c:formatCode>General</c:formatCode>
                <c:ptCount val="9"/>
                <c:pt idx="6" formatCode="&quot;Rp&quot;#,##0;\-&quot;Rp&quot;#,##0;&quot;Rp&quot;#,##0">
                  <c:v>2792.8312052902656</c:v>
                </c:pt>
                <c:pt idx="8" formatCode="&quot;Rp&quot;#,##0;\-&quot;Rp&quot;#,##0;&quot;Rp&quot;#,##0">
                  <c:v>2863.265088906123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15ML</c:v>
                </c:pt>
              </c:strCache>
            </c:strRef>
          </c:tx>
          <c:spPr>
            <a:ln w="19050">
              <a:noFill/>
            </a:ln>
          </c:spPr>
          <c:marker>
            <c:symbol val="dash"/>
            <c:size val="20"/>
            <c:spPr>
              <a:solidFill>
                <a:srgbClr val="FF99FF"/>
              </a:solidFill>
              <a:ln w="9525">
                <a:noFill/>
              </a:ln>
              <a:effectLst/>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D$2:$D$10</c:f>
              <c:numCache>
                <c:formatCode>General</c:formatCode>
                <c:ptCount val="9"/>
                <c:pt idx="4" formatCode="&quot;Rp&quot;#,##0;\-&quot;Rp&quot;#,##0;&quot;Rp&quot;#,##0">
                  <c:v>2914.5186879531279</c:v>
                </c:pt>
                <c:pt idx="5" formatCode="&quot;Rp&quot;#,##0;\-&quot;Rp&quot;#,##0;&quot;Rp&quot;#,##0">
                  <c:v>2882.3390328978212</c:v>
                </c:pt>
                <c:pt idx="6" formatCode="&quot;Rp&quot;#,##0;\-&quot;Rp&quot;#,##0;&quot;Rp&quot;#,##0">
                  <c:v>2917.90097221800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ML</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E$2:$E$10</c:f>
              <c:numCache>
                <c:formatCode>"Rp"#,##0;\-"Rp"#,##0;"Rp"#,##0</c:formatCode>
                <c:ptCount val="9"/>
                <c:pt idx="0">
                  <c:v>2950.986704961932</c:v>
                </c:pt>
                <c:pt idx="1">
                  <c:v>2935.0404904988445</c:v>
                </c:pt>
                <c:pt idx="4">
                  <c:v>3498.98163841807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0ML</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F$2:$F$10</c:f>
              <c:numCache>
                <c:formatCode>General</c:formatCode>
                <c:ptCount val="9"/>
                <c:pt idx="2" formatCode="&quot;Rp&quot;#,##0;\-&quot;Rp&quot;#,##0;&quot;Rp&quot;#,##0">
                  <c:v>10676.518973829305</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ML</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G$2:$G$10</c:f>
              <c:numCache>
                <c:formatCode>General</c:formatCode>
                <c:ptCount val="9"/>
                <c:pt idx="6" formatCode="&quot;Rp&quot;#,##0;\-&quot;Rp&quot;#,##0;&quot;Rp&quot;#,##0">
                  <c:v>4568.5241001671293</c:v>
                </c:pt>
                <c:pt idx="8" formatCode="&quot;Rp&quot;#,##0;\-&quot;Rp&quot;#,##0;&quot;Rp&quot;#,##0">
                  <c:v>5071.0509045291883</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9ML</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H$2:$H$10</c:f>
              <c:numCache>
                <c:formatCode>General</c:formatCode>
                <c:ptCount val="9"/>
                <c:pt idx="3" formatCode="&quot;Rp&quot;#,##0;\-&quot;Rp&quot;#,##0;&quot;Rp&quot;#,##0">
                  <c:v>10486.92809809597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0ML</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I$2:$I$10</c:f>
              <c:numCache>
                <c:formatCode>General</c:formatCode>
                <c:ptCount val="9"/>
                <c:pt idx="4" formatCode="&quot;Rp&quot;#,##0;\-&quot;Rp&quot;#,##0;&quot;Rp&quot;#,##0">
                  <c:v>4224</c:v>
                </c:pt>
                <c:pt idx="6" formatCode="&quot;Rp&quot;#,##0;\-&quot;Rp&quot;#,##0;&quot;Rp&quot;#,##0">
                  <c:v>3936.449044585987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ML</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J$2:$J$10</c:f>
              <c:numCache>
                <c:formatCode>"Rp"#,##0;\-"Rp"#,##0;"Rp"#,##0</c:formatCode>
                <c:ptCount val="9"/>
                <c:pt idx="0">
                  <c:v>4978.4167211904914</c:v>
                </c:pt>
                <c:pt idx="1">
                  <c:v>4828.154936637781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25ML</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K$2:$K$10</c:f>
              <c:numCache>
                <c:formatCode>General</c:formatCode>
                <c:ptCount val="9"/>
                <c:pt idx="6" formatCode="&quot;Rp&quot;#,##0;\-&quot;Rp&quot;#,##0;&quot;Rp&quot;#,##0">
                  <c:v>6233.2118810714819</c:v>
                </c:pt>
                <c:pt idx="7" formatCode="&quot;Rp&quot;#,##0;\-&quot;Rp&quot;#,##0;&quot;Rp&quot;#,##0">
                  <c:v>6022.6814128703618</c:v>
                </c:pt>
                <c:pt idx="8" formatCode="&quot;Rp&quot;#,##0;\-&quot;Rp&quot;#,##0;&quot;Rp&quot;#,##0">
                  <c:v>10037.38399738650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ML</c:v>
                </c:pt>
              </c:strCache>
            </c:strRef>
          </c:tx>
          <c:spPr>
            <a:ln w="19050">
              <a:noFill/>
            </a:ln>
          </c:spPr>
          <c:marker>
            <c:symbol val="dash"/>
            <c:size val="20"/>
            <c:spPr>
              <a:solidFill>
                <a:schemeClr val="accent4">
                  <a:lumMod val="40000"/>
                  <a:lumOff val="60000"/>
                </a:schemeClr>
              </a:solidFill>
              <a:ln>
                <a:noFill/>
              </a:ln>
            </c:spPr>
          </c:marker>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L$2:$L$10</c:f>
              <c:numCache>
                <c:formatCode>General</c:formatCode>
                <c:ptCount val="9"/>
                <c:pt idx="8" formatCode="&quot;Rp&quot;#,##0;\-&quot;Rp&quot;#,##0;&quot;Rp&quot;#,##0">
                  <c:v>10278.8186878122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ML</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M$2:$M$10</c:f>
              <c:numCache>
                <c:formatCode>"Rp"#,##0;\-"Rp"#,##0;"Rp"#,##0</c:formatCode>
                <c:ptCount val="9"/>
                <c:pt idx="0">
                  <c:v>6205.3290831298791</c:v>
                </c:pt>
                <c:pt idx="1">
                  <c:v>6205.7844930203155</c:v>
                </c:pt>
                <c:pt idx="4">
                  <c:v>6319.8487996201256</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946ML</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N$2:$N$10</c:f>
              <c:numCache>
                <c:formatCode>General</c:formatCode>
                <c:ptCount val="9"/>
                <c:pt idx="6" formatCode="&quot;Rp&quot;#,##0;\-&quot;Rp&quot;#,##0;&quot;Rp&quot;#,##0">
                  <c:v>18183.588646996981</c:v>
                </c:pt>
                <c:pt idx="7" formatCode="&quot;Rp&quot;#,##0;\-&quot;Rp&quot;#,##0;&quot;Rp&quot;#,##0">
                  <c:v>17582.68441376948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950ML</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O$2:$O$10</c:f>
              <c:numCache>
                <c:formatCode>General</c:formatCode>
                <c:ptCount val="9"/>
                <c:pt idx="4" formatCode="&quot;Rp&quot;#,##0;\-&quot;Rp&quot;#,##0;&quot;Rp&quot;#,##0">
                  <c:v>17294.696804820476</c:v>
                </c:pt>
                <c:pt idx="5" formatCode="&quot;Rp&quot;#,##0;\-&quot;Rp&quot;#,##0;&quot;Rp&quot;#,##0">
                  <c:v>16830.78285254348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1000ML</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10</c:f>
              <c:multiLvlStrCache>
                <c:ptCount val="9"/>
                <c:lvl>
                  <c:pt idx="0">
                    <c:v>Sector 1</c:v>
                  </c:pt>
                  <c:pt idx="1">
                    <c:v>Sector 2</c:v>
                  </c:pt>
                  <c:pt idx="2">
                    <c:v>Sector 1</c:v>
                  </c:pt>
                  <c:pt idx="3">
                    <c:v>Sector 2</c:v>
                  </c:pt>
                  <c:pt idx="4">
                    <c:v>Sector 1</c:v>
                  </c:pt>
                  <c:pt idx="5">
                    <c:v>Sector 2</c:v>
                  </c:pt>
                  <c:pt idx="6">
                    <c:v>Sector 1</c:v>
                  </c:pt>
                  <c:pt idx="7">
                    <c:v>Sector 1</c:v>
                  </c:pt>
                  <c:pt idx="8">
                    <c:v>Sector 3</c:v>
                  </c:pt>
                </c:lvl>
                <c:lvl>
                  <c:pt idx="0">
                    <c:v>Brand 1</c:v>
                  </c:pt>
                  <c:pt idx="2">
                    <c:v>Brand 2</c:v>
                  </c:pt>
                  <c:pt idx="4">
                    <c:v>Brand 3</c:v>
                  </c:pt>
                  <c:pt idx="6">
                    <c:v>Brand 4</c:v>
                  </c:pt>
                </c:lvl>
              </c:multiLvlStrCache>
            </c:multiLvlStrRef>
          </c:cat>
          <c:val>
            <c:numRef>
              <c:f>Sheet1!$P$2:$P$10</c:f>
              <c:numCache>
                <c:formatCode>"Rp"#,##0;\-"Rp"#,##0;"Rp"#,##0</c:formatCode>
                <c:ptCount val="9"/>
                <c:pt idx="0">
                  <c:v>18190.200564131246</c:v>
                </c:pt>
                <c:pt idx="1">
                  <c:v>18043.1597676272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General"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6/18/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6/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6/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6/1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6/1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6/1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6/1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6/1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6/1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6/18/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8/06/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6/1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8/06/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8/06/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8/06/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6/1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6/18/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6/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6/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6/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6/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6/18/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6/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6/18/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chart" Target="../charts/chart9.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chart" Target="../charts/chart11.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10.xml"/><Relationship Id="rId5" Type="http://schemas.openxmlformats.org/officeDocument/2006/relationships/image" Target="../media/image28.emf"/><Relationship Id="rId4" Type="http://schemas.openxmlformats.org/officeDocument/2006/relationships/oleObject" Target="../embeddings/oleObject31.bin"/></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xml"/><Relationship Id="rId5" Type="http://schemas.openxmlformats.org/officeDocument/2006/relationships/chart" Target="../charts/chart12.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chart" Target="../charts/chart14.xml"/><Relationship Id="rId5" Type="http://schemas.openxmlformats.org/officeDocument/2006/relationships/chart" Target="../charts/chart13.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7.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chart" Target="../charts/chart16.xml"/><Relationship Id="rId5" Type="http://schemas.openxmlformats.org/officeDocument/2006/relationships/chart" Target="../charts/chart15.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8" Type="http://schemas.openxmlformats.org/officeDocument/2006/relationships/chart" Target="../charts/chart21.xml"/><Relationship Id="rId3" Type="http://schemas.openxmlformats.org/officeDocument/2006/relationships/oleObject" Target="../embeddings/oleObject27.bin"/><Relationship Id="rId7" Type="http://schemas.openxmlformats.org/officeDocument/2006/relationships/chart" Target="../charts/chart20.xml"/><Relationship Id="rId2" Type="http://schemas.openxmlformats.org/officeDocument/2006/relationships/slideLayout" Target="../slideLayouts/slideLayout7.xml"/><Relationship Id="rId1" Type="http://schemas.openxmlformats.org/officeDocument/2006/relationships/tags" Target="../tags/tag42.xml"/><Relationship Id="rId6" Type="http://schemas.openxmlformats.org/officeDocument/2006/relationships/chart" Target="../charts/chart19.xml"/><Relationship Id="rId5" Type="http://schemas.openxmlformats.org/officeDocument/2006/relationships/chart" Target="../charts/chart18.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chart" Target="../charts/chart22.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7.xml"/><Relationship Id="rId1" Type="http://schemas.openxmlformats.org/officeDocument/2006/relationships/tags" Target="../tags/tag44.xml"/><Relationship Id="rId5" Type="http://schemas.openxmlformats.org/officeDocument/2006/relationships/chart" Target="../charts/chart23.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4.xml"/><Relationship Id="rId5" Type="http://schemas.openxmlformats.org/officeDocument/2006/relationships/image" Target="../media/image28.emf"/><Relationship Id="rId4" Type="http://schemas.openxmlformats.org/officeDocument/2006/relationships/oleObject" Target="../embeddings/oleObject30.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5.xml"/><Relationship Id="rId5" Type="http://schemas.openxmlformats.org/officeDocument/2006/relationships/image" Target="../media/image28.emf"/><Relationship Id="rId4" Type="http://schemas.openxmlformats.org/officeDocument/2006/relationships/oleObject" Target="../embeddings/oleObject30.bin"/></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xml"/><Relationship Id="rId5" Type="http://schemas.openxmlformats.org/officeDocument/2006/relationships/chart" Target="../charts/chart6.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7.xml"/><Relationship Id="rId1" Type="http://schemas.openxmlformats.org/officeDocument/2006/relationships/tags" Target="../tags/tag35.xml"/><Relationship Id="rId5" Type="http://schemas.openxmlformats.org/officeDocument/2006/relationships/chart" Target="../charts/chart7.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xml"/><Relationship Id="rId5" Type="http://schemas.openxmlformats.org/officeDocument/2006/relationships/chart" Target="../charts/chart8.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80964340"/>
              </p:ext>
            </p:extLst>
          </p:nvPr>
        </p:nvGraphicFramePr>
        <p:xfrm>
          <a:off x="519290"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Tree>
    <p:extLst>
      <p:ext uri="{BB962C8B-B14F-4D97-AF65-F5344CB8AC3E}">
        <p14:creationId xmlns:p14="http://schemas.microsoft.com/office/powerpoint/2010/main" val="9923558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Sector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by brand by Sector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10756115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1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rPr lang="en-US"/>
              <a:t>DATA SOURCE: Trade Panel/Retailer Data | Ending Feb 2024</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Price Correlation | Xtreme 3 vs Fusion | Male Shaving | National | Weekly Price vs. Share analysis</a:t>
            </a:r>
          </a:p>
          <a:p>
            <a:r>
              <a:rPr lang="en-US" dirty="0"/>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ok"/>
                <a:ea typeface="+mn-ea"/>
                <a:cs typeface="Dubai Light"/>
              </a:rPr>
              <a:t>--- P3M Average</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A097"/>
                </a:solidFill>
                <a:effectLst/>
                <a:uLnTx/>
                <a:uFillTx/>
                <a:latin typeface="Nexa Book"/>
                <a:ea typeface="+mn-ea"/>
                <a:cs typeface="Dubai Light"/>
              </a:rPr>
              <a:t>--- P12M Quarterly Highest</a:t>
            </a:r>
          </a:p>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C00000"/>
                </a:solidFill>
                <a:effectLst/>
                <a:uLnTx/>
                <a:uFillTx/>
                <a:latin typeface="Nexa Book"/>
                <a:ea typeface="+mn-ea"/>
                <a:cs typeface="Dubai Light"/>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4768501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18/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20004520"/>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21542907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7821A1-2F42-C18A-3A14-0530E70D8A18}"/>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DC475BB2-0528-29FB-C158-9EF2E6156FB0}"/>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A6C569F5-3F88-086F-5B00-1E8A66D0F786}"/>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250C62E0-50F3-8C98-8A6C-00F3BBB96302}"/>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18/2025</a:t>
            </a:fld>
            <a:endParaRPr lang="en-US" noProof="0"/>
          </a:p>
        </p:txBody>
      </p:sp>
      <p:sp>
        <p:nvSpPr>
          <p:cNvPr id="8" name="Footer Placeholder 7">
            <a:extLst>
              <a:ext uri="{FF2B5EF4-FFF2-40B4-BE49-F238E27FC236}">
                <a16:creationId xmlns:a16="http://schemas.microsoft.com/office/drawing/2014/main" id="{9746381B-5429-20C5-0029-A24C957D1C40}"/>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BCD8A60D-9E09-5437-EE3D-2051F5857F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37" name="Text Placeholder 36">
            <a:extLst>
              <a:ext uri="{FF2B5EF4-FFF2-40B4-BE49-F238E27FC236}">
                <a16:creationId xmlns:a16="http://schemas.microsoft.com/office/drawing/2014/main" id="{A4F500DF-07D6-F3F4-D8F8-0A850530D857}"/>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48099170-CF4A-17A7-D8E1-C8D5FA773FD7}"/>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EC2E6E30-3D89-617C-9DCF-CEDDBE7FCC0C}"/>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DAAAD5C8-F0B7-3265-8959-069CFDD4A1E7}"/>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DEB88E8D-6B5F-DE01-AAF6-32AD94BA3F03}"/>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24C607CE-76BC-9557-8899-739EB84BB985}"/>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sp>
        <p:nvSpPr>
          <p:cNvPr id="16" name="TextBox 15">
            <a:extLst>
              <a:ext uri="{FF2B5EF4-FFF2-40B4-BE49-F238E27FC236}">
                <a16:creationId xmlns:a16="http://schemas.microsoft.com/office/drawing/2014/main" id="{91EA33FD-D7F4-2B7D-DCF9-187EAC1C77AB}"/>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E4DDF06F-92F0-1389-A3D1-5EC7AC06EDBA}"/>
              </a:ext>
            </a:extLst>
          </p:cNvPr>
          <p:cNvGraphicFramePr>
            <a:graphicFrameLocks noGrp="1"/>
          </p:cNvGraphicFramePr>
          <p:nvPr>
            <p:extLst>
              <p:ext uri="{D42A27DB-BD31-4B8C-83A1-F6EECF244321}">
                <p14:modId xmlns:p14="http://schemas.microsoft.com/office/powerpoint/2010/main" val="2001560134"/>
              </p:ext>
            </p:extLst>
          </p:nvPr>
        </p:nvGraphicFramePr>
        <p:xfrm>
          <a:off x="720534" y="1121410"/>
          <a:ext cx="4056956"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44219738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18/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47145502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8FC55-424A-ACCC-676F-44C3CCC9796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415BD49-9CDB-C892-E279-946572C3A12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BE947E9A-9EDC-50FE-5484-367359C894D7}"/>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6A5025B9-0C85-A050-B069-0AC43B6B8204}"/>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6/18/2025</a:t>
            </a:fld>
            <a:endParaRPr lang="en-US" noProof="0"/>
          </a:p>
        </p:txBody>
      </p:sp>
      <p:sp>
        <p:nvSpPr>
          <p:cNvPr id="8" name="Footer Placeholder 7">
            <a:extLst>
              <a:ext uri="{FF2B5EF4-FFF2-40B4-BE49-F238E27FC236}">
                <a16:creationId xmlns:a16="http://schemas.microsoft.com/office/drawing/2014/main" id="{1004F20C-B07D-4614-4481-965EA185837B}"/>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A91D8E7D-FEEC-5BA1-EB74-93E5E7482F8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37" name="Text Placeholder 36">
            <a:extLst>
              <a:ext uri="{FF2B5EF4-FFF2-40B4-BE49-F238E27FC236}">
                <a16:creationId xmlns:a16="http://schemas.microsoft.com/office/drawing/2014/main" id="{FA0F6888-D5CC-383A-47AD-80C683524A7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34" name="MT">
            <a:extLst>
              <a:ext uri="{FF2B5EF4-FFF2-40B4-BE49-F238E27FC236}">
                <a16:creationId xmlns:a16="http://schemas.microsoft.com/office/drawing/2014/main" id="{2E389274-4FCB-6DE6-41BB-F4D26E075546}"/>
              </a:ext>
            </a:extLst>
          </p:cNvPr>
          <p:cNvSpPr>
            <a:spLocks noGrp="1"/>
          </p:cNvSpPr>
          <p:nvPr>
            <p:ph type="body" sz="quarter" idx="18"/>
          </p:nvPr>
        </p:nvSpPr>
        <p:spPr>
          <a:xfrm>
            <a:off x="503238" y="774000"/>
            <a:ext cx="8136762" cy="360000"/>
          </a:xfrm>
        </p:spPr>
        <p:txBody>
          <a:bodyPr/>
          <a:lstStyle/>
          <a:p>
            <a:r>
              <a:rPr lang="en-US"/>
              <a:t>Brand Price &amp; Index vs Market | Bubble Size by Value Sales</a:t>
            </a:r>
            <a:r>
              <a:rPr lang="en-AE"/>
              <a:t> </a:t>
            </a:r>
            <a:r>
              <a:rPr lang="en-US"/>
              <a:t>| </a:t>
            </a:r>
            <a:r>
              <a:rPr lang="en-GB"/>
              <a:t>Category | National | P12M</a:t>
            </a:r>
            <a:endParaRPr lang="en-CH"/>
          </a:p>
        </p:txBody>
      </p:sp>
      <p:sp>
        <p:nvSpPr>
          <p:cNvPr id="2" name="Title 1">
            <a:extLst>
              <a:ext uri="{FF2B5EF4-FFF2-40B4-BE49-F238E27FC236}">
                <a16:creationId xmlns:a16="http://schemas.microsoft.com/office/drawing/2014/main" id="{0B37106B-65BB-38CE-2DE5-FACF202E6E13}"/>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3AD1043F-CB15-E170-B712-2A89D1DA680D}"/>
              </a:ext>
            </a:extLst>
          </p:cNvPr>
          <p:cNvGraphicFramePr>
            <a:graphicFrameLocks noGrp="1"/>
          </p:cNvGraphicFramePr>
          <p:nvPr>
            <p:ph idx="4294967295"/>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C7CB25F2-15EE-61CD-96F8-9E24F3CFB425}"/>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C8ACCE2D-6642-ED27-3E63-215D317EDF54}"/>
              </a:ext>
            </a:extLst>
          </p:cNvPr>
          <p:cNvGraphicFramePr>
            <a:graphicFrameLocks/>
          </p:cNvGraphicFramePr>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8D2AC029-204E-C851-0DBB-376972B8F647}"/>
              </a:ext>
            </a:extLst>
          </p:cNvPr>
          <p:cNvGraphicFramePr>
            <a:graphicFrameLocks/>
          </p:cNvGraphicFramePr>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1">
            <a:extLst>
              <a:ext uri="{FF2B5EF4-FFF2-40B4-BE49-F238E27FC236}">
                <a16:creationId xmlns:a16="http://schemas.microsoft.com/office/drawing/2014/main" id="{F3DC8CB2-3F2B-2774-573E-DFF620E84D4C}"/>
              </a:ext>
            </a:extLst>
          </p:cNvPr>
          <p:cNvGraphicFramePr>
            <a:graphicFrameLocks/>
          </p:cNvGraphicFramePr>
          <p:nvPr/>
        </p:nvGraphicFramePr>
        <p:xfrm>
          <a:off x="6566444" y="1354754"/>
          <a:ext cx="2268000" cy="3374309"/>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a:extLst>
              <a:ext uri="{FF2B5EF4-FFF2-40B4-BE49-F238E27FC236}">
                <a16:creationId xmlns:a16="http://schemas.microsoft.com/office/drawing/2014/main" id="{8C8CB6BD-A844-74EC-CFEC-C58CFCC7C5EC}"/>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r>
              <a:rPr lang="en-US" sz="800" dirty="0">
                <a:solidFill>
                  <a:schemeClr val="tx2"/>
                </a:solidFill>
                <a:latin typeface="Nexa Bold" panose="00000800000000000000" pitchFamily="2" charset="0"/>
              </a:rPr>
              <a:t>Avg Price / Unit</a:t>
            </a:r>
            <a:endParaRPr lang="en-CH" sz="800" dirty="0">
              <a:solidFill>
                <a:schemeClr val="tx2"/>
              </a:solidFill>
              <a:latin typeface="Nexa Bold" panose="00000800000000000000" pitchFamily="2" charset="0"/>
            </a:endParaRPr>
          </a:p>
        </p:txBody>
      </p:sp>
      <p:graphicFrame>
        <p:nvGraphicFramePr>
          <p:cNvPr id="17" name="Table 16">
            <a:extLst>
              <a:ext uri="{FF2B5EF4-FFF2-40B4-BE49-F238E27FC236}">
                <a16:creationId xmlns:a16="http://schemas.microsoft.com/office/drawing/2014/main" id="{B18FE6A9-85ED-634C-B0DB-D9A4E7A1AD69}"/>
              </a:ext>
            </a:extLst>
          </p:cNvPr>
          <p:cNvGraphicFramePr>
            <a:graphicFrameLocks noGrp="1"/>
          </p:cNvGraphicFramePr>
          <p:nvPr/>
        </p:nvGraphicFramePr>
        <p:xfrm>
          <a:off x="720534" y="1121410"/>
          <a:ext cx="8113912"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gridCol w="2028478">
                  <a:extLst>
                    <a:ext uri="{9D8B030D-6E8A-4147-A177-3AD203B41FA5}">
                      <a16:colId xmlns:a16="http://schemas.microsoft.com/office/drawing/2014/main" val="3571608413"/>
                    </a:ext>
                  </a:extLst>
                </a:gridCol>
              </a:tblGrid>
              <a:tr h="235994">
                <a:tc>
                  <a:txBody>
                    <a:bodyPr/>
                    <a:lstStyle/>
                    <a:p>
                      <a:pPr algn="ctr"/>
                      <a:r>
                        <a:rPr lang="en-US" sz="1100" dirty="0">
                          <a:solidFill>
                            <a:schemeClr val="tx2"/>
                          </a:solidFill>
                        </a:rPr>
                        <a:t>Sector 1</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2</a:t>
                      </a:r>
                    </a:p>
                  </a:txBody>
                  <a:tcPr anchor="ctr">
                    <a:solidFill>
                      <a:schemeClr val="bg2"/>
                    </a:solidFill>
                  </a:tcPr>
                </a:tc>
                <a:tc>
                  <a:txBody>
                    <a:bodyPr/>
                    <a:lstStyle/>
                    <a:p>
                      <a:pPr algn="ctr"/>
                      <a:r>
                        <a:rPr lang="en-US" sz="1100" dirty="0">
                          <a:solidFill>
                            <a:schemeClr val="tx2"/>
                          </a:solidFill>
                        </a:rPr>
                        <a:t>Sector 3</a:t>
                      </a:r>
                      <a:endParaRPr lang="en-CH" sz="1100" dirty="0">
                        <a:solidFill>
                          <a:schemeClr val="tx2"/>
                        </a:solidFill>
                      </a:endParaRPr>
                    </a:p>
                  </a:txBody>
                  <a:tcPr anchor="ctr">
                    <a:solidFill>
                      <a:schemeClr val="bg2"/>
                    </a:solidFill>
                  </a:tcPr>
                </a:tc>
                <a:tc>
                  <a:txBody>
                    <a:bodyPr/>
                    <a:lstStyle/>
                    <a:p>
                      <a:pPr algn="ctr"/>
                      <a:r>
                        <a:rPr lang="en-US" sz="1100" dirty="0">
                          <a:solidFill>
                            <a:schemeClr val="tx2"/>
                          </a:solidFill>
                        </a:rPr>
                        <a:t>Sector 4</a:t>
                      </a:r>
                      <a:endParaRPr lang="en-CH" sz="1100" dirty="0">
                        <a:solidFill>
                          <a:schemeClr val="tx2"/>
                        </a:solidFill>
                      </a:endParaRP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34743653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DBD5E6-1B4E-BD5F-B756-3577FD5772AE}"/>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3099CB7-AC67-A8FB-C7BE-58984841D55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4E94D738-7924-76BD-E0A7-AD146E8556BA}"/>
              </a:ext>
            </a:extLst>
          </p:cNvPr>
          <p:cNvGraphicFramePr/>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8AF49A97-84A9-D601-F094-5DB7DC00657A}"/>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EC423116-04D7-4370-A090-B57591644672}" type="datetime1">
              <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1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15" name="Slide Number Placeholder 14">
            <a:extLst>
              <a:ext uri="{FF2B5EF4-FFF2-40B4-BE49-F238E27FC236}">
                <a16:creationId xmlns:a16="http://schemas.microsoft.com/office/drawing/2014/main" id="{39BE8E2B-BC86-10EF-8C74-FBD457C3F9CA}"/>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5" name="Text Placeholder 4">
            <a:extLst>
              <a:ext uri="{FF2B5EF4-FFF2-40B4-BE49-F238E27FC236}">
                <a16:creationId xmlns:a16="http://schemas.microsoft.com/office/drawing/2014/main" id="{DB6E27E1-8589-40BD-F00B-83BC6E3EB2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197DAE51-AA21-A43E-BA85-45BE6AA3FA0C}"/>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4A7F71E8-081C-72B0-8480-075080A23E6A}"/>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D169D8FA-5986-AB97-5D5E-DE3A3C897AE3}"/>
              </a:ext>
            </a:extLst>
          </p:cNvPr>
          <p:cNvGraphicFramePr>
            <a:graphicFrameLocks noGrp="1"/>
          </p:cNvGraphicFramePr>
          <p:nvPr>
            <p:extLst>
              <p:ext uri="{D42A27DB-BD31-4B8C-83A1-F6EECF244321}">
                <p14:modId xmlns:p14="http://schemas.microsoft.com/office/powerpoint/2010/main" val="302290672"/>
              </p:ext>
            </p:extLst>
          </p:nvPr>
        </p:nvGraphicFramePr>
        <p:xfrm>
          <a:off x="539496" y="3319227"/>
          <a:ext cx="8118130" cy="1225296"/>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4920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535833">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20131">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dirty="0">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20131">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dirty="0">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21" name="TextBox 20">
            <a:extLst>
              <a:ext uri="{FF2B5EF4-FFF2-40B4-BE49-F238E27FC236}">
                <a16:creationId xmlns:a16="http://schemas.microsoft.com/office/drawing/2014/main" id="{D3C060AB-43D3-09E3-CD2C-FB60DB662F8C}"/>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75555"/>
                </a:solidFill>
                <a:effectLst/>
                <a:uLnTx/>
                <a:uFillTx/>
                <a:latin typeface="Nexa Bold"/>
                <a:ea typeface="+mn-ea"/>
                <a:cs typeface="Dubai Light"/>
              </a:rPr>
              <a:t>Base Price/Unit ($)</a:t>
            </a:r>
          </a:p>
        </p:txBody>
      </p:sp>
    </p:spTree>
    <p:extLst>
      <p:ext uri="{BB962C8B-B14F-4D97-AF65-F5344CB8AC3E}">
        <p14:creationId xmlns:p14="http://schemas.microsoft.com/office/powerpoint/2010/main" val="280848288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82CAFD-71C9-C909-DA21-3A0D1D0FD18D}"/>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03BF8DD0-41D1-8E5F-8194-83DB7CBBF23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8E879178-1F59-6686-C3DC-28F2532BD61B}"/>
              </a:ext>
            </a:extLst>
          </p:cNvPr>
          <p:cNvGraphicFramePr/>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E591B4F0-1CF5-CA1B-B4CB-0E8CC1780608}"/>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18/2025</a:t>
            </a:fld>
            <a:endParaRPr lang="en-US" noProof="0"/>
          </a:p>
        </p:txBody>
      </p:sp>
      <p:sp>
        <p:nvSpPr>
          <p:cNvPr id="26" name="Footer Placeholder 25">
            <a:extLst>
              <a:ext uri="{FF2B5EF4-FFF2-40B4-BE49-F238E27FC236}">
                <a16:creationId xmlns:a16="http://schemas.microsoft.com/office/drawing/2014/main" id="{5074EAF0-2B5A-52E7-3F50-ABD90C086E52}"/>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43F9C070-2BE7-4ED4-0CEA-531F3A3F4EF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5" name="Text Placeholder 4">
            <a:extLst>
              <a:ext uri="{FF2B5EF4-FFF2-40B4-BE49-F238E27FC236}">
                <a16:creationId xmlns:a16="http://schemas.microsoft.com/office/drawing/2014/main" id="{5D2F266D-0B8C-1B64-2F44-E1A3823867D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33EB2AEF-1DAB-7B75-2A86-3B816707D713}"/>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E513D433-19DD-D5B6-8283-32265814B1FB}"/>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F205D3B5-C8C0-09EE-943F-3EBA29593FB0}"/>
              </a:ext>
            </a:extLst>
          </p:cNvPr>
          <p:cNvGraphicFramePr>
            <a:graphicFrameLocks noGrp="1"/>
          </p:cNvGraphicFramePr>
          <p:nvPr>
            <p:extLst>
              <p:ext uri="{D42A27DB-BD31-4B8C-83A1-F6EECF244321}">
                <p14:modId xmlns:p14="http://schemas.microsoft.com/office/powerpoint/2010/main" val="930054151"/>
              </p:ext>
            </p:extLst>
          </p:nvPr>
        </p:nvGraphicFramePr>
        <p:xfrm>
          <a:off x="521491" y="3320060"/>
          <a:ext cx="8132994" cy="1259373"/>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91113">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530377">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217889">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219994">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bl>
          </a:graphicData>
        </a:graphic>
      </p:graphicFrame>
      <p:sp>
        <p:nvSpPr>
          <p:cNvPr id="7" name="TextBox 6">
            <a:extLst>
              <a:ext uri="{FF2B5EF4-FFF2-40B4-BE49-F238E27FC236}">
                <a16:creationId xmlns:a16="http://schemas.microsoft.com/office/drawing/2014/main" id="{DD1E5C81-1B89-6FDB-0333-A98486149C5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38792229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6/18/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r>
              <a:rPr lang="en-US"/>
              <a:t>Share and Growth By Brands | By Category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r>
                        <a:rPr lang="en-AE" sz="800" b="1" i="0" kern="1200" dirty="0">
                          <a:solidFill>
                            <a:schemeClr val="tx2"/>
                          </a:solidFill>
                          <a:latin typeface="+mn-lt"/>
                          <a:ea typeface="+mn-ea"/>
                          <a:cs typeface="+mn-cs"/>
                        </a:rPr>
                        <a:t>)</a:t>
                      </a:r>
                      <a:endParaRPr lang="en-US" sz="800" b="1" i="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fontAlgn="ctr"/>
                      <a:r>
                        <a:rPr lang="en-US" sz="800" b="1" i="0" kern="1200">
                          <a:solidFill>
                            <a:schemeClr val="tx2"/>
                          </a:solidFill>
                          <a:latin typeface="Nexa Bold" panose="00000800000000000000" pitchFamily="2" charset="0"/>
                          <a:ea typeface="+mn-ea"/>
                          <a:cs typeface="+mn-cs"/>
                        </a:rPr>
                        <a:t>IYA Price/</a:t>
                      </a:r>
                    </a:p>
                    <a:p>
                      <a:pPr algn="ctr" fontAlgn="ctr"/>
                      <a:r>
                        <a:rPr lang="en-US" sz="800" b="1" i="0" kern="1200">
                          <a:solidFill>
                            <a:schemeClr val="tx2"/>
                          </a:solidFill>
                          <a:latin typeface="Nexa Bold" panose="00000800000000000000" pitchFamily="2" charset="0"/>
                          <a:ea typeface="+mn-ea"/>
                          <a:cs typeface="+mn-cs"/>
                        </a:rPr>
                        <a:t>Kg</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2</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35.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4</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kern="1200">
                          <a:solidFill>
                            <a:srgbClr val="575555"/>
                          </a:solidFill>
                          <a:latin typeface="Nexa Bold" panose="00000800000000000000" pitchFamily="2" charset="0"/>
                          <a:ea typeface="+mn-ea"/>
                          <a:cs typeface="+mn-cs"/>
                        </a:rPr>
                        <a:t>Brand 6</a:t>
                      </a:r>
                      <a:endParaRPr lang="en-CH" sz="800" b="0" i="0" kern="1200">
                        <a:solidFill>
                          <a:srgbClr val="575555"/>
                        </a:solidFill>
                        <a:latin typeface="Nexa Bold" panose="00000800000000000000" pitchFamily="2" charset="0"/>
                        <a:ea typeface="+mn-ea"/>
                        <a:cs typeface="+mn-cs"/>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5.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Skin Care/Acn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0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8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5.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4.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4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Hypo Allergenic</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8.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89.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6.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4.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7.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9" name="T1">
            <a:extLst>
              <a:ext uri="{FF2B5EF4-FFF2-40B4-BE49-F238E27FC236}">
                <a16:creationId xmlns:a16="http://schemas.microsoft.com/office/drawing/2014/main" id="{F336CB8D-599E-3A55-1EC2-8F1512FF8DB2}"/>
              </a:ext>
            </a:extLst>
          </p:cNvPr>
          <p:cNvGraphicFramePr>
            <a:graphicFrameLocks noGrp="1"/>
          </p:cNvGraphicFramePr>
          <p:nvPr>
            <p:extLst>
              <p:ext uri="{D42A27DB-BD31-4B8C-83A1-F6EECF244321}">
                <p14:modId xmlns:p14="http://schemas.microsoft.com/office/powerpoint/2010/main" val="2947407379"/>
              </p:ext>
            </p:extLst>
          </p:nvPr>
        </p:nvGraphicFramePr>
        <p:xfrm>
          <a:off x="537528"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r>
                        <a:rPr lang="en-US" sz="800">
                          <a:solidFill>
                            <a:srgbClr val="575555"/>
                          </a:solidFill>
                          <a:latin typeface="Nexa Bold" panose="00000800000000000000" pitchFamily="2" charset="0"/>
                        </a:rPr>
                        <a:t>Body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1.4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28.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8.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46.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7.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0" name="T1">
            <a:extLst>
              <a:ext uri="{FF2B5EF4-FFF2-40B4-BE49-F238E27FC236}">
                <a16:creationId xmlns:a16="http://schemas.microsoft.com/office/drawing/2014/main" id="{EB1F5D8D-E2FD-A273-B319-354F0BDE3543}"/>
              </a:ext>
            </a:extLst>
          </p:cNvPr>
          <p:cNvGraphicFramePr>
            <a:graphicFrameLocks noGrp="1"/>
          </p:cNvGraphicFramePr>
          <p:nvPr>
            <p:extLst>
              <p:ext uri="{D42A27DB-BD31-4B8C-83A1-F6EECF244321}">
                <p14:modId xmlns:p14="http://schemas.microsoft.com/office/powerpoint/2010/main" val="530207771"/>
              </p:ext>
            </p:extLst>
          </p:nvPr>
        </p:nvGraphicFramePr>
        <p:xfrm>
          <a:off x="3273000" y="2944891"/>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Face </a:t>
                      </a:r>
                    </a:p>
                    <a:p>
                      <a:r>
                        <a:rPr lang="en-US" sz="800">
                          <a:solidFill>
                            <a:srgbClr val="575555"/>
                          </a:solidFill>
                          <a:latin typeface="Nexa Bold" panose="00000800000000000000" pitchFamily="2" charset="0"/>
                        </a:rPr>
                        <a:t>Wash</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5.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2.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54.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1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60.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7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13" name="T1">
            <a:extLst>
              <a:ext uri="{FF2B5EF4-FFF2-40B4-BE49-F238E27FC236}">
                <a16:creationId xmlns:a16="http://schemas.microsoft.com/office/drawing/2014/main" id="{61E33211-B397-9E7F-EAA3-77BD332CCB1D}"/>
              </a:ext>
            </a:extLst>
          </p:cNvPr>
          <p:cNvGraphicFramePr>
            <a:graphicFrameLocks noGrp="1"/>
          </p:cNvGraphicFramePr>
          <p:nvPr>
            <p:extLst>
              <p:ext uri="{D42A27DB-BD31-4B8C-83A1-F6EECF244321}">
                <p14:modId xmlns:p14="http://schemas.microsoft.com/office/powerpoint/2010/main" val="4021439906"/>
              </p:ext>
            </p:extLst>
          </p:nvPr>
        </p:nvGraphicFramePr>
        <p:xfrm>
          <a:off x="6018270" y="2940553"/>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r>
                        <a:rPr lang="en-US" sz="800">
                          <a:solidFill>
                            <a:srgbClr val="575555"/>
                          </a:solidFill>
                          <a:latin typeface="Nexa Bold" panose="00000800000000000000" pitchFamily="2" charset="0"/>
                        </a:rPr>
                        <a:t>Sun Care Regula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IYA Price/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2</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4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8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4</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5.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C00000"/>
                          </a:solidFill>
                          <a:latin typeface="Nexa Book"/>
                          <a:ea typeface="+mn-ea"/>
                          <a:cs typeface="+mn-cs"/>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71.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a:solidFill>
                            <a:srgbClr val="575555"/>
                          </a:solidFill>
                          <a:latin typeface="Nexa Bold" panose="00000800000000000000" pitchFamily="2" charset="0"/>
                        </a:rPr>
                        <a:t>Brand 6</a:t>
                      </a:r>
                      <a:endParaRPr lang="en-CH" sz="800" b="0"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rgbClr val="00A097"/>
                          </a:solidFill>
                          <a:latin typeface="Nexa Book"/>
                          <a:ea typeface="+mn-ea"/>
                          <a:cs typeface="+mn-cs"/>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a:solidFill>
                            <a:schemeClr val="tx2"/>
                          </a:solidFill>
                          <a:latin typeface="Nexa Book"/>
                          <a:ea typeface="+mn-ea"/>
                          <a:cs typeface="+mn-cs"/>
                        </a:rPr>
                        <a:t>$58.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ctr"/>
                      <a:r>
                        <a:rPr lang="en-AE" sz="700" kern="1200" dirty="0">
                          <a:solidFill>
                            <a:schemeClr val="tx2"/>
                          </a:solidFill>
                          <a:latin typeface="Nexa Book"/>
                          <a:ea typeface="+mn-ea"/>
                          <a:cs typeface="+mn-cs"/>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1987209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18/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endParaRPr lang="en-CH"/>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r>
              <a:rPr lang="en-US"/>
              <a:t>Segment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76815046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Value Sales</a:t>
            </a:r>
            <a:r>
              <a:rPr lang="en-US" sz="800" b="1">
                <a:solidFill>
                  <a:schemeClr val="tx2"/>
                </a:solidFill>
                <a:latin typeface="Nexa Bold"/>
              </a:rPr>
              <a:t>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M</a:t>
            </a:r>
            <a:r>
              <a:rPr lang="en-US" sz="800" b="1">
                <a:solidFill>
                  <a:schemeClr val="tx2"/>
                </a:solidFill>
                <a:latin typeface="Nexa Bold"/>
              </a:rPr>
              <a:t> Kr</a:t>
            </a:r>
            <a:r>
              <a:rPr kumimoji="0" lang="en-US" sz="800" b="1" i="0" u="none" strike="noStrike" kern="1200" cap="none" spc="0" normalizeH="0" baseline="0" noProof="0">
                <a:ln>
                  <a:noFill/>
                </a:ln>
                <a:solidFill>
                  <a:schemeClr val="tx2"/>
                </a:solidFill>
                <a:effectLst/>
                <a:uLnTx/>
                <a:uFillTx/>
                <a:latin typeface="Nexa Bold"/>
                <a:ea typeface="+mn-ea"/>
                <a:cs typeface="+mn-cs"/>
              </a:rPr>
              <a:t>)</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Av. Price/Vol </a:t>
            </a:r>
          </a:p>
          <a:p>
            <a:pPr marL="0" marR="0" lvl="0" indent="0"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2"/>
                </a:solidFill>
                <a:effectLst/>
                <a:uLnTx/>
                <a:uFillTx/>
                <a:latin typeface="Nexa Bold"/>
                <a:ea typeface="+mn-ea"/>
                <a:cs typeface="+mn-cs"/>
              </a:rPr>
              <a:t>(Kr)</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5048637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6/18/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endParaRPr lang="en-CH" dirty="0"/>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vg Price Per Liter | Category vs. Brand A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ctors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76654307"/>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Value Sales </a:t>
            </a:r>
          </a:p>
          <a:p>
            <a:pPr marL="0" marR="0" lvl="0" indent="0" algn="r"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M Kr)</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75555"/>
                </a:solidFill>
                <a:effectLst/>
                <a:uLnTx/>
                <a:uFillTx/>
                <a:latin typeface="Nexa Bold"/>
                <a:ea typeface="+mn-ea"/>
                <a:cs typeface="+mn-cs"/>
              </a:rPr>
              <a:t>Av. Price/Vol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75555"/>
                </a:solidFill>
                <a:effectLst/>
                <a:uLnTx/>
                <a:uFillTx/>
                <a:latin typeface="Nexa Bold"/>
                <a:ea typeface="+mn-ea"/>
                <a:cs typeface="+mn-cs"/>
              </a:rPr>
              <a:t>(Kr)</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119"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91203">
                  <a:extLst>
                    <a:ext uri="{9D8B030D-6E8A-4147-A177-3AD203B41FA5}">
                      <a16:colId xmlns:a16="http://schemas.microsoft.com/office/drawing/2014/main" val="2253286919"/>
                    </a:ext>
                  </a:extLst>
                </a:gridCol>
                <a:gridCol w="391203">
                  <a:extLst>
                    <a:ext uri="{9D8B030D-6E8A-4147-A177-3AD203B41FA5}">
                      <a16:colId xmlns:a16="http://schemas.microsoft.com/office/drawing/2014/main" val="154020430"/>
                    </a:ext>
                  </a:extLst>
                </a:gridCol>
                <a:gridCol w="391203">
                  <a:extLst>
                    <a:ext uri="{9D8B030D-6E8A-4147-A177-3AD203B41FA5}">
                      <a16:colId xmlns:a16="http://schemas.microsoft.com/office/drawing/2014/main" val="3928813835"/>
                    </a:ext>
                  </a:extLst>
                </a:gridCol>
                <a:gridCol w="391203">
                  <a:extLst>
                    <a:ext uri="{9D8B030D-6E8A-4147-A177-3AD203B41FA5}">
                      <a16:colId xmlns:a16="http://schemas.microsoft.com/office/drawing/2014/main" val="4099274801"/>
                    </a:ext>
                  </a:extLst>
                </a:gridCol>
                <a:gridCol w="391203">
                  <a:extLst>
                    <a:ext uri="{9D8B030D-6E8A-4147-A177-3AD203B41FA5}">
                      <a16:colId xmlns:a16="http://schemas.microsoft.com/office/drawing/2014/main" val="3203434082"/>
                    </a:ext>
                  </a:extLst>
                </a:gridCol>
                <a:gridCol w="391203">
                  <a:extLst>
                    <a:ext uri="{9D8B030D-6E8A-4147-A177-3AD203B41FA5}">
                      <a16:colId xmlns:a16="http://schemas.microsoft.com/office/drawing/2014/main" val="1306444463"/>
                    </a:ext>
                  </a:extLst>
                </a:gridCol>
                <a:gridCol w="391203">
                  <a:extLst>
                    <a:ext uri="{9D8B030D-6E8A-4147-A177-3AD203B41FA5}">
                      <a16:colId xmlns:a16="http://schemas.microsoft.com/office/drawing/2014/main" val="2052677327"/>
                    </a:ext>
                  </a:extLst>
                </a:gridCol>
                <a:gridCol w="391203">
                  <a:extLst>
                    <a:ext uri="{9D8B030D-6E8A-4147-A177-3AD203B41FA5}">
                      <a16:colId xmlns:a16="http://schemas.microsoft.com/office/drawing/2014/main" val="1311887603"/>
                    </a:ext>
                  </a:extLst>
                </a:gridCol>
                <a:gridCol w="391203">
                  <a:extLst>
                    <a:ext uri="{9D8B030D-6E8A-4147-A177-3AD203B41FA5}">
                      <a16:colId xmlns:a16="http://schemas.microsoft.com/office/drawing/2014/main" val="2227414998"/>
                    </a:ext>
                  </a:extLst>
                </a:gridCol>
                <a:gridCol w="391203">
                  <a:extLst>
                    <a:ext uri="{9D8B030D-6E8A-4147-A177-3AD203B41FA5}">
                      <a16:colId xmlns:a16="http://schemas.microsoft.com/office/drawing/2014/main" val="1431050579"/>
                    </a:ext>
                  </a:extLst>
                </a:gridCol>
                <a:gridCol w="391203">
                  <a:extLst>
                    <a:ext uri="{9D8B030D-6E8A-4147-A177-3AD203B41FA5}">
                      <a16:colId xmlns:a16="http://schemas.microsoft.com/office/drawing/2014/main" val="442382258"/>
                    </a:ext>
                  </a:extLst>
                </a:gridCol>
                <a:gridCol w="391203">
                  <a:extLst>
                    <a:ext uri="{9D8B030D-6E8A-4147-A177-3AD203B41FA5}">
                      <a16:colId xmlns:a16="http://schemas.microsoft.com/office/drawing/2014/main" val="42676639"/>
                    </a:ext>
                  </a:extLst>
                </a:gridCol>
                <a:gridCol w="391203">
                  <a:extLst>
                    <a:ext uri="{9D8B030D-6E8A-4147-A177-3AD203B41FA5}">
                      <a16:colId xmlns:a16="http://schemas.microsoft.com/office/drawing/2014/main" val="2064526218"/>
                    </a:ext>
                  </a:extLst>
                </a:gridCol>
                <a:gridCol w="391203">
                  <a:extLst>
                    <a:ext uri="{9D8B030D-6E8A-4147-A177-3AD203B41FA5}">
                      <a16:colId xmlns:a16="http://schemas.microsoft.com/office/drawing/2014/main" val="3759621649"/>
                    </a:ext>
                  </a:extLst>
                </a:gridCol>
                <a:gridCol w="391203">
                  <a:extLst>
                    <a:ext uri="{9D8B030D-6E8A-4147-A177-3AD203B41FA5}">
                      <a16:colId xmlns:a16="http://schemas.microsoft.com/office/drawing/2014/main" val="132397960"/>
                    </a:ext>
                  </a:extLst>
                </a:gridCol>
                <a:gridCol w="391203">
                  <a:extLst>
                    <a:ext uri="{9D8B030D-6E8A-4147-A177-3AD203B41FA5}">
                      <a16:colId xmlns:a16="http://schemas.microsoft.com/office/drawing/2014/main" val="3507962874"/>
                    </a:ext>
                  </a:extLst>
                </a:gridCol>
                <a:gridCol w="391203">
                  <a:extLst>
                    <a:ext uri="{9D8B030D-6E8A-4147-A177-3AD203B41FA5}">
                      <a16:colId xmlns:a16="http://schemas.microsoft.com/office/drawing/2014/main" val="141721057"/>
                    </a:ext>
                  </a:extLst>
                </a:gridCol>
                <a:gridCol w="391203">
                  <a:extLst>
                    <a:ext uri="{9D8B030D-6E8A-4147-A177-3AD203B41FA5}">
                      <a16:colId xmlns:a16="http://schemas.microsoft.com/office/drawing/2014/main" val="292500256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917"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91206">
                  <a:extLst>
                    <a:ext uri="{9D8B030D-6E8A-4147-A177-3AD203B41FA5}">
                      <a16:colId xmlns:a16="http://schemas.microsoft.com/office/drawing/2014/main" val="2253286919"/>
                    </a:ext>
                  </a:extLst>
                </a:gridCol>
                <a:gridCol w="391206">
                  <a:extLst>
                    <a:ext uri="{9D8B030D-6E8A-4147-A177-3AD203B41FA5}">
                      <a16:colId xmlns:a16="http://schemas.microsoft.com/office/drawing/2014/main" val="154020430"/>
                    </a:ext>
                  </a:extLst>
                </a:gridCol>
                <a:gridCol w="391206">
                  <a:extLst>
                    <a:ext uri="{9D8B030D-6E8A-4147-A177-3AD203B41FA5}">
                      <a16:colId xmlns:a16="http://schemas.microsoft.com/office/drawing/2014/main" val="3928813835"/>
                    </a:ext>
                  </a:extLst>
                </a:gridCol>
                <a:gridCol w="391206">
                  <a:extLst>
                    <a:ext uri="{9D8B030D-6E8A-4147-A177-3AD203B41FA5}">
                      <a16:colId xmlns:a16="http://schemas.microsoft.com/office/drawing/2014/main" val="4099274801"/>
                    </a:ext>
                  </a:extLst>
                </a:gridCol>
                <a:gridCol w="391206">
                  <a:extLst>
                    <a:ext uri="{9D8B030D-6E8A-4147-A177-3AD203B41FA5}">
                      <a16:colId xmlns:a16="http://schemas.microsoft.com/office/drawing/2014/main" val="3203434082"/>
                    </a:ext>
                  </a:extLst>
                </a:gridCol>
                <a:gridCol w="391206">
                  <a:extLst>
                    <a:ext uri="{9D8B030D-6E8A-4147-A177-3AD203B41FA5}">
                      <a16:colId xmlns:a16="http://schemas.microsoft.com/office/drawing/2014/main" val="1306444463"/>
                    </a:ext>
                  </a:extLst>
                </a:gridCol>
                <a:gridCol w="391206">
                  <a:extLst>
                    <a:ext uri="{9D8B030D-6E8A-4147-A177-3AD203B41FA5}">
                      <a16:colId xmlns:a16="http://schemas.microsoft.com/office/drawing/2014/main" val="2052677327"/>
                    </a:ext>
                  </a:extLst>
                </a:gridCol>
                <a:gridCol w="391206">
                  <a:extLst>
                    <a:ext uri="{9D8B030D-6E8A-4147-A177-3AD203B41FA5}">
                      <a16:colId xmlns:a16="http://schemas.microsoft.com/office/drawing/2014/main" val="1311887603"/>
                    </a:ext>
                  </a:extLst>
                </a:gridCol>
                <a:gridCol w="391206">
                  <a:extLst>
                    <a:ext uri="{9D8B030D-6E8A-4147-A177-3AD203B41FA5}">
                      <a16:colId xmlns:a16="http://schemas.microsoft.com/office/drawing/2014/main" val="2227414998"/>
                    </a:ext>
                  </a:extLst>
                </a:gridCol>
                <a:gridCol w="391206">
                  <a:extLst>
                    <a:ext uri="{9D8B030D-6E8A-4147-A177-3AD203B41FA5}">
                      <a16:colId xmlns:a16="http://schemas.microsoft.com/office/drawing/2014/main" val="1431050579"/>
                    </a:ext>
                  </a:extLst>
                </a:gridCol>
                <a:gridCol w="391206">
                  <a:extLst>
                    <a:ext uri="{9D8B030D-6E8A-4147-A177-3AD203B41FA5}">
                      <a16:colId xmlns:a16="http://schemas.microsoft.com/office/drawing/2014/main" val="442382258"/>
                    </a:ext>
                  </a:extLst>
                </a:gridCol>
                <a:gridCol w="391206">
                  <a:extLst>
                    <a:ext uri="{9D8B030D-6E8A-4147-A177-3AD203B41FA5}">
                      <a16:colId xmlns:a16="http://schemas.microsoft.com/office/drawing/2014/main" val="42676639"/>
                    </a:ext>
                  </a:extLst>
                </a:gridCol>
                <a:gridCol w="391206">
                  <a:extLst>
                    <a:ext uri="{9D8B030D-6E8A-4147-A177-3AD203B41FA5}">
                      <a16:colId xmlns:a16="http://schemas.microsoft.com/office/drawing/2014/main" val="2064526218"/>
                    </a:ext>
                  </a:extLst>
                </a:gridCol>
                <a:gridCol w="391206">
                  <a:extLst>
                    <a:ext uri="{9D8B030D-6E8A-4147-A177-3AD203B41FA5}">
                      <a16:colId xmlns:a16="http://schemas.microsoft.com/office/drawing/2014/main" val="3759621649"/>
                    </a:ext>
                  </a:extLst>
                </a:gridCol>
                <a:gridCol w="391206">
                  <a:extLst>
                    <a:ext uri="{9D8B030D-6E8A-4147-A177-3AD203B41FA5}">
                      <a16:colId xmlns:a16="http://schemas.microsoft.com/office/drawing/2014/main" val="132397960"/>
                    </a:ext>
                  </a:extLst>
                </a:gridCol>
                <a:gridCol w="391206">
                  <a:extLst>
                    <a:ext uri="{9D8B030D-6E8A-4147-A177-3AD203B41FA5}">
                      <a16:colId xmlns:a16="http://schemas.microsoft.com/office/drawing/2014/main" val="3507962874"/>
                    </a:ext>
                  </a:extLst>
                </a:gridCol>
                <a:gridCol w="391206">
                  <a:extLst>
                    <a:ext uri="{9D8B030D-6E8A-4147-A177-3AD203B41FA5}">
                      <a16:colId xmlns:a16="http://schemas.microsoft.com/office/drawing/2014/main" val="141721057"/>
                    </a:ext>
                  </a:extLst>
                </a:gridCol>
                <a:gridCol w="391206">
                  <a:extLst>
                    <a:ext uri="{9D8B030D-6E8A-4147-A177-3AD203B41FA5}">
                      <a16:colId xmlns:a16="http://schemas.microsoft.com/office/drawing/2014/main" val="292500256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AE" sz="700" b="0" i="0" u="none" strike="noStrike">
                          <a:solidFill>
                            <a:schemeClr val="tx1"/>
                          </a:solidFill>
                          <a:effectLst/>
                          <a:latin typeface="Nexa Book" panose="00000400000000000000" pitchFamily="2" charset="0"/>
                        </a:rPr>
                        <a:t>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AE" sz="700" b="0" i="0" u="none" strike="noStrike">
                          <a:solidFill>
                            <a:schemeClr val="tx1"/>
                          </a:solidFill>
                          <a:effectLst/>
                          <a:latin typeface="Nexa Book" panose="00000400000000000000" pitchFamily="2" charset="0"/>
                        </a:rPr>
                        <a:t>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AE" sz="700" b="0" i="0" u="none" strike="noStrike" dirty="0">
                        <a:solidFill>
                          <a:schemeClr val="tx1"/>
                        </a:solidFill>
                        <a:effectLst/>
                        <a:latin typeface="Nexa Book" panose="00000400000000000000" pitchFamily="2" charset="0"/>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8337165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1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8932385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6/18/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6</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7</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1731243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fr-CH"/>
              <a:t>Price Point Distribution </a:t>
            </a:r>
            <a:r>
              <a:rPr lang="en-GB"/>
              <a:t>| Brand |</a:t>
            </a:r>
            <a:r>
              <a:rPr lang="en-CH"/>
              <a:t> </a:t>
            </a:r>
            <a:r>
              <a:rPr lang="en-US"/>
              <a:t>Category </a:t>
            </a:r>
            <a:r>
              <a:rPr lang="en-GB"/>
              <a:t>| National | P12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18130"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00165">
                  <a:extLst>
                    <a:ext uri="{9D8B030D-6E8A-4147-A177-3AD203B41FA5}">
                      <a16:colId xmlns:a16="http://schemas.microsoft.com/office/drawing/2014/main" val="1249427694"/>
                    </a:ext>
                  </a:extLst>
                </a:gridCol>
                <a:gridCol w="300165">
                  <a:extLst>
                    <a:ext uri="{9D8B030D-6E8A-4147-A177-3AD203B41FA5}">
                      <a16:colId xmlns:a16="http://schemas.microsoft.com/office/drawing/2014/main" val="2218987241"/>
                    </a:ext>
                  </a:extLst>
                </a:gridCol>
                <a:gridCol w="300165">
                  <a:extLst>
                    <a:ext uri="{9D8B030D-6E8A-4147-A177-3AD203B41FA5}">
                      <a16:colId xmlns:a16="http://schemas.microsoft.com/office/drawing/2014/main" val="3054438620"/>
                    </a:ext>
                  </a:extLst>
                </a:gridCol>
                <a:gridCol w="300165">
                  <a:extLst>
                    <a:ext uri="{9D8B030D-6E8A-4147-A177-3AD203B41FA5}">
                      <a16:colId xmlns:a16="http://schemas.microsoft.com/office/drawing/2014/main" val="3260695282"/>
                    </a:ext>
                  </a:extLst>
                </a:gridCol>
                <a:gridCol w="300165">
                  <a:extLst>
                    <a:ext uri="{9D8B030D-6E8A-4147-A177-3AD203B41FA5}">
                      <a16:colId xmlns:a16="http://schemas.microsoft.com/office/drawing/2014/main" val="2013999109"/>
                    </a:ext>
                  </a:extLst>
                </a:gridCol>
                <a:gridCol w="300165">
                  <a:extLst>
                    <a:ext uri="{9D8B030D-6E8A-4147-A177-3AD203B41FA5}">
                      <a16:colId xmlns:a16="http://schemas.microsoft.com/office/drawing/2014/main" val="444465486"/>
                    </a:ext>
                  </a:extLst>
                </a:gridCol>
                <a:gridCol w="300165">
                  <a:extLst>
                    <a:ext uri="{9D8B030D-6E8A-4147-A177-3AD203B41FA5}">
                      <a16:colId xmlns:a16="http://schemas.microsoft.com/office/drawing/2014/main" val="1559592490"/>
                    </a:ext>
                  </a:extLst>
                </a:gridCol>
                <a:gridCol w="300165">
                  <a:extLst>
                    <a:ext uri="{9D8B030D-6E8A-4147-A177-3AD203B41FA5}">
                      <a16:colId xmlns:a16="http://schemas.microsoft.com/office/drawing/2014/main" val="2735954434"/>
                    </a:ext>
                  </a:extLst>
                </a:gridCol>
                <a:gridCol w="300165">
                  <a:extLst>
                    <a:ext uri="{9D8B030D-6E8A-4147-A177-3AD203B41FA5}">
                      <a16:colId xmlns:a16="http://schemas.microsoft.com/office/drawing/2014/main" val="3859861992"/>
                    </a:ext>
                  </a:extLst>
                </a:gridCol>
                <a:gridCol w="300165">
                  <a:extLst>
                    <a:ext uri="{9D8B030D-6E8A-4147-A177-3AD203B41FA5}">
                      <a16:colId xmlns:a16="http://schemas.microsoft.com/office/drawing/2014/main" val="460972006"/>
                    </a:ext>
                  </a:extLst>
                </a:gridCol>
                <a:gridCol w="300165">
                  <a:extLst>
                    <a:ext uri="{9D8B030D-6E8A-4147-A177-3AD203B41FA5}">
                      <a16:colId xmlns:a16="http://schemas.microsoft.com/office/drawing/2014/main" val="3507623914"/>
                    </a:ext>
                  </a:extLst>
                </a:gridCol>
                <a:gridCol w="300165">
                  <a:extLst>
                    <a:ext uri="{9D8B030D-6E8A-4147-A177-3AD203B41FA5}">
                      <a16:colId xmlns:a16="http://schemas.microsoft.com/office/drawing/2014/main" val="170271243"/>
                    </a:ext>
                  </a:extLst>
                </a:gridCol>
                <a:gridCol w="300165">
                  <a:extLst>
                    <a:ext uri="{9D8B030D-6E8A-4147-A177-3AD203B41FA5}">
                      <a16:colId xmlns:a16="http://schemas.microsoft.com/office/drawing/2014/main" val="2204249940"/>
                    </a:ext>
                  </a:extLst>
                </a:gridCol>
                <a:gridCol w="300165">
                  <a:extLst>
                    <a:ext uri="{9D8B030D-6E8A-4147-A177-3AD203B41FA5}">
                      <a16:colId xmlns:a16="http://schemas.microsoft.com/office/drawing/2014/main" val="2424300055"/>
                    </a:ext>
                  </a:extLst>
                </a:gridCol>
                <a:gridCol w="300165">
                  <a:extLst>
                    <a:ext uri="{9D8B030D-6E8A-4147-A177-3AD203B41FA5}">
                      <a16:colId xmlns:a16="http://schemas.microsoft.com/office/drawing/2014/main" val="3351884686"/>
                    </a:ext>
                  </a:extLst>
                </a:gridCol>
                <a:gridCol w="300165">
                  <a:extLst>
                    <a:ext uri="{9D8B030D-6E8A-4147-A177-3AD203B41FA5}">
                      <a16:colId xmlns:a16="http://schemas.microsoft.com/office/drawing/2014/main" val="4135995131"/>
                    </a:ext>
                  </a:extLst>
                </a:gridCol>
                <a:gridCol w="300165">
                  <a:extLst>
                    <a:ext uri="{9D8B030D-6E8A-4147-A177-3AD203B41FA5}">
                      <a16:colId xmlns:a16="http://schemas.microsoft.com/office/drawing/2014/main" val="3927921266"/>
                    </a:ext>
                  </a:extLst>
                </a:gridCol>
                <a:gridCol w="300165">
                  <a:extLst>
                    <a:ext uri="{9D8B030D-6E8A-4147-A177-3AD203B41FA5}">
                      <a16:colId xmlns:a16="http://schemas.microsoft.com/office/drawing/2014/main" val="572541506"/>
                    </a:ext>
                  </a:extLst>
                </a:gridCol>
                <a:gridCol w="300165">
                  <a:extLst>
                    <a:ext uri="{9D8B030D-6E8A-4147-A177-3AD203B41FA5}">
                      <a16:colId xmlns:a16="http://schemas.microsoft.com/office/drawing/2014/main" val="2268671585"/>
                    </a:ext>
                  </a:extLst>
                </a:gridCol>
                <a:gridCol w="300165">
                  <a:extLst>
                    <a:ext uri="{9D8B030D-6E8A-4147-A177-3AD203B41FA5}">
                      <a16:colId xmlns:a16="http://schemas.microsoft.com/office/drawing/2014/main" val="3061589779"/>
                    </a:ext>
                  </a:extLst>
                </a:gridCol>
                <a:gridCol w="300165">
                  <a:extLst>
                    <a:ext uri="{9D8B030D-6E8A-4147-A177-3AD203B41FA5}">
                      <a16:colId xmlns:a16="http://schemas.microsoft.com/office/drawing/2014/main" val="2040634105"/>
                    </a:ext>
                  </a:extLst>
                </a:gridCol>
                <a:gridCol w="300165">
                  <a:extLst>
                    <a:ext uri="{9D8B030D-6E8A-4147-A177-3AD203B41FA5}">
                      <a16:colId xmlns:a16="http://schemas.microsoft.com/office/drawing/2014/main" val="1048426497"/>
                    </a:ext>
                  </a:extLst>
                </a:gridCol>
                <a:gridCol w="300165">
                  <a:extLst>
                    <a:ext uri="{9D8B030D-6E8A-4147-A177-3AD203B41FA5}">
                      <a16:colId xmlns:a16="http://schemas.microsoft.com/office/drawing/2014/main" val="2674721816"/>
                    </a:ext>
                  </a:extLst>
                </a:gridCol>
                <a:gridCol w="300165">
                  <a:extLst>
                    <a:ext uri="{9D8B030D-6E8A-4147-A177-3AD203B41FA5}">
                      <a16:colId xmlns:a16="http://schemas.microsoft.com/office/drawing/2014/main" val="268787094"/>
                    </a:ext>
                  </a:extLst>
                </a:gridCol>
                <a:gridCol w="300165">
                  <a:extLst>
                    <a:ext uri="{9D8B030D-6E8A-4147-A177-3AD203B41FA5}">
                      <a16:colId xmlns:a16="http://schemas.microsoft.com/office/drawing/2014/main" val="49073937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endParaRPr lang="en-US" dirty="0"/>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800" b="1" i="0" u="none" strike="noStrike" dirty="0">
                        <a:solidFill>
                          <a:srgbClr val="575555"/>
                        </a:solidFill>
                        <a:effectLst/>
                        <a:latin typeface="+mj-lt"/>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6</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7</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8</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9</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0</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kern="1200">
                          <a:solidFill>
                            <a:srgbClr val="575555"/>
                          </a:solidFill>
                          <a:effectLst/>
                          <a:latin typeface="+mn-lt"/>
                          <a:ea typeface="+mn-ea"/>
                          <a:cs typeface="+mn-cs"/>
                        </a:rPr>
                        <a:t>Item 1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1" i="0" u="none" strike="noStrike">
                          <a:solidFill>
                            <a:srgbClr val="575555"/>
                          </a:solidFill>
                          <a:effectLst/>
                          <a:latin typeface="+mj-lt"/>
                        </a:rPr>
                        <a:t>Item 1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US" sz="600" b="1" i="0" u="none" strike="noStrike">
                        <a:solidFill>
                          <a:srgbClr val="575555"/>
                        </a:solidFill>
                        <a:effectLst/>
                        <a:latin typeface="+mj-lt"/>
                      </a:endParaRP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9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10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1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35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US"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mj-lt"/>
                        </a:rPr>
                        <a:t>Base Price/kg (</a:t>
                      </a:r>
                      <a:r>
                        <a:rPr lang="en-US" sz="600" b="0" i="0" u="none" strike="noStrike" dirty="0" err="1">
                          <a:solidFill>
                            <a:srgbClr val="575555"/>
                          </a:solidFill>
                          <a:effectLst/>
                          <a:latin typeface="+mj-lt"/>
                        </a:rPr>
                        <a:t>kr</a:t>
                      </a:r>
                      <a:r>
                        <a:rPr lang="en-US" sz="600" b="0" i="0" u="none" strike="noStrike" dirty="0">
                          <a:solidFill>
                            <a:srgbClr val="575555"/>
                          </a:solidFill>
                          <a:effectLst/>
                          <a:latin typeface="+mj-lt"/>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57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8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23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endParaRPr lang="en-AE" sz="600" b="0" i="0" u="none" strike="noStrike">
                        <a:solidFill>
                          <a:srgbClr val="57555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tx1"/>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165142065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6/18/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r>
              <a:rPr lang="fr-CH"/>
              <a:t>Price Point Distribution </a:t>
            </a:r>
            <a:r>
              <a:rPr lang="en-GB"/>
              <a:t>| Brand Vs. Competition |</a:t>
            </a:r>
            <a:r>
              <a:rPr lang="en-CH"/>
              <a:t> </a:t>
            </a:r>
            <a:r>
              <a:rPr lang="en-GB"/>
              <a:t>Category | National | P3M</a:t>
            </a:r>
            <a:endParaRPr lang="en-US"/>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3299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3106">
                  <a:extLst>
                    <a:ext uri="{9D8B030D-6E8A-4147-A177-3AD203B41FA5}">
                      <a16:colId xmlns:a16="http://schemas.microsoft.com/office/drawing/2014/main" val="1249427694"/>
                    </a:ext>
                  </a:extLst>
                </a:gridCol>
                <a:gridCol w="373106">
                  <a:extLst>
                    <a:ext uri="{9D8B030D-6E8A-4147-A177-3AD203B41FA5}">
                      <a16:colId xmlns:a16="http://schemas.microsoft.com/office/drawing/2014/main" val="2218987241"/>
                    </a:ext>
                  </a:extLst>
                </a:gridCol>
                <a:gridCol w="373106">
                  <a:extLst>
                    <a:ext uri="{9D8B030D-6E8A-4147-A177-3AD203B41FA5}">
                      <a16:colId xmlns:a16="http://schemas.microsoft.com/office/drawing/2014/main" val="3054438620"/>
                    </a:ext>
                  </a:extLst>
                </a:gridCol>
                <a:gridCol w="373106">
                  <a:extLst>
                    <a:ext uri="{9D8B030D-6E8A-4147-A177-3AD203B41FA5}">
                      <a16:colId xmlns:a16="http://schemas.microsoft.com/office/drawing/2014/main" val="310395072"/>
                    </a:ext>
                  </a:extLst>
                </a:gridCol>
                <a:gridCol w="373106">
                  <a:extLst>
                    <a:ext uri="{9D8B030D-6E8A-4147-A177-3AD203B41FA5}">
                      <a16:colId xmlns:a16="http://schemas.microsoft.com/office/drawing/2014/main" val="3260695282"/>
                    </a:ext>
                  </a:extLst>
                </a:gridCol>
                <a:gridCol w="373106">
                  <a:extLst>
                    <a:ext uri="{9D8B030D-6E8A-4147-A177-3AD203B41FA5}">
                      <a16:colId xmlns:a16="http://schemas.microsoft.com/office/drawing/2014/main" val="1819053712"/>
                    </a:ext>
                  </a:extLst>
                </a:gridCol>
                <a:gridCol w="373106">
                  <a:extLst>
                    <a:ext uri="{9D8B030D-6E8A-4147-A177-3AD203B41FA5}">
                      <a16:colId xmlns:a16="http://schemas.microsoft.com/office/drawing/2014/main" val="639641908"/>
                    </a:ext>
                  </a:extLst>
                </a:gridCol>
                <a:gridCol w="373106">
                  <a:extLst>
                    <a:ext uri="{9D8B030D-6E8A-4147-A177-3AD203B41FA5}">
                      <a16:colId xmlns:a16="http://schemas.microsoft.com/office/drawing/2014/main" val="3972879755"/>
                    </a:ext>
                  </a:extLst>
                </a:gridCol>
                <a:gridCol w="373106">
                  <a:extLst>
                    <a:ext uri="{9D8B030D-6E8A-4147-A177-3AD203B41FA5}">
                      <a16:colId xmlns:a16="http://schemas.microsoft.com/office/drawing/2014/main" val="3537530948"/>
                    </a:ext>
                  </a:extLst>
                </a:gridCol>
                <a:gridCol w="373106">
                  <a:extLst>
                    <a:ext uri="{9D8B030D-6E8A-4147-A177-3AD203B41FA5}">
                      <a16:colId xmlns:a16="http://schemas.microsoft.com/office/drawing/2014/main" val="3746584589"/>
                    </a:ext>
                  </a:extLst>
                </a:gridCol>
                <a:gridCol w="373106">
                  <a:extLst>
                    <a:ext uri="{9D8B030D-6E8A-4147-A177-3AD203B41FA5}">
                      <a16:colId xmlns:a16="http://schemas.microsoft.com/office/drawing/2014/main" val="2480078238"/>
                    </a:ext>
                  </a:extLst>
                </a:gridCol>
                <a:gridCol w="373106">
                  <a:extLst>
                    <a:ext uri="{9D8B030D-6E8A-4147-A177-3AD203B41FA5}">
                      <a16:colId xmlns:a16="http://schemas.microsoft.com/office/drawing/2014/main" val="461482366"/>
                    </a:ext>
                  </a:extLst>
                </a:gridCol>
                <a:gridCol w="373106">
                  <a:extLst>
                    <a:ext uri="{9D8B030D-6E8A-4147-A177-3AD203B41FA5}">
                      <a16:colId xmlns:a16="http://schemas.microsoft.com/office/drawing/2014/main" val="3000128965"/>
                    </a:ext>
                  </a:extLst>
                </a:gridCol>
                <a:gridCol w="373106">
                  <a:extLst>
                    <a:ext uri="{9D8B030D-6E8A-4147-A177-3AD203B41FA5}">
                      <a16:colId xmlns:a16="http://schemas.microsoft.com/office/drawing/2014/main" val="2230636300"/>
                    </a:ext>
                  </a:extLst>
                </a:gridCol>
                <a:gridCol w="373106">
                  <a:extLst>
                    <a:ext uri="{9D8B030D-6E8A-4147-A177-3AD203B41FA5}">
                      <a16:colId xmlns:a16="http://schemas.microsoft.com/office/drawing/2014/main" val="1384103314"/>
                    </a:ext>
                  </a:extLst>
                </a:gridCol>
                <a:gridCol w="373106">
                  <a:extLst>
                    <a:ext uri="{9D8B030D-6E8A-4147-A177-3AD203B41FA5}">
                      <a16:colId xmlns:a16="http://schemas.microsoft.com/office/drawing/2014/main" val="133870796"/>
                    </a:ext>
                  </a:extLst>
                </a:gridCol>
                <a:gridCol w="373106">
                  <a:extLst>
                    <a:ext uri="{9D8B030D-6E8A-4147-A177-3AD203B41FA5}">
                      <a16:colId xmlns:a16="http://schemas.microsoft.com/office/drawing/2014/main" val="1133890510"/>
                    </a:ext>
                  </a:extLst>
                </a:gridCol>
                <a:gridCol w="373106">
                  <a:extLst>
                    <a:ext uri="{9D8B030D-6E8A-4147-A177-3AD203B41FA5}">
                      <a16:colId xmlns:a16="http://schemas.microsoft.com/office/drawing/2014/main" val="750543690"/>
                    </a:ext>
                  </a:extLst>
                </a:gridCol>
                <a:gridCol w="373106">
                  <a:extLst>
                    <a:ext uri="{9D8B030D-6E8A-4147-A177-3AD203B41FA5}">
                      <a16:colId xmlns:a16="http://schemas.microsoft.com/office/drawing/2014/main" val="3955953197"/>
                    </a:ext>
                  </a:extLst>
                </a:gridCol>
                <a:gridCol w="373106">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highlight>
                            <a:srgbClr val="FFFF00"/>
                          </a:highlight>
                          <a:latin typeface="Nexa Bold" panose="00000800000000000000" pitchFamily="2" charset="0"/>
                        </a:rPr>
                        <a:t>Cli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highlight>
                          <a:srgbClr val="FFFF00"/>
                        </a:highligh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r>
                        <a:rPr lang="en-US" sz="800" b="0" i="0" u="none" strike="noStrike">
                          <a:solidFill>
                            <a:srgbClr val="575555"/>
                          </a:solidFill>
                          <a:effectLst/>
                          <a:latin typeface="Nexa Bold" panose="00000800000000000000" pitchFamily="2" charset="0"/>
                        </a:rPr>
                        <a:t>Brand 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rtl="0" fontAlgn="ctr"/>
                      <a:endParaRPr lang="en-US" sz="800" b="0" i="0" u="none" strike="noStrike">
                        <a:solidFill>
                          <a:srgbClr val="575555"/>
                        </a:solidFill>
                        <a:effectLst/>
                        <a:latin typeface="Nexa Bold" panose="000008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1</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2</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3</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4</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ld" panose="00000800000000000000" pitchFamily="2" charset="0"/>
                        </a:rPr>
                        <a:t>Item 5</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2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54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600" b="0" i="0" u="none" strike="noStrike">
                          <a:solidFill>
                            <a:srgbClr val="575555"/>
                          </a:solidFill>
                          <a:effectLst/>
                          <a:latin typeface="Nexa Book" panose="00000400000000000000" pitchFamily="2" charset="0"/>
                        </a:rPr>
                        <a:t>400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rtl="0" fontAlgn="ctr"/>
                      <a:r>
                        <a:rPr lang="en-US" sz="600" b="0" i="0" u="none" strike="noStrike" dirty="0">
                          <a:solidFill>
                            <a:srgbClr val="575555"/>
                          </a:solidFill>
                          <a:effectLst/>
                          <a:latin typeface="Nexa Bold" panose="00000800000000000000" pitchFamily="2" charset="0"/>
                        </a:rPr>
                        <a:t>Base Price/kg (</a:t>
                      </a:r>
                      <a:r>
                        <a:rPr lang="en-US" sz="600" b="0" i="0" u="none" strike="noStrike" dirty="0" err="1">
                          <a:solidFill>
                            <a:srgbClr val="575555"/>
                          </a:solidFill>
                          <a:effectLst/>
                          <a:latin typeface="Nexa Bold" panose="00000800000000000000" pitchFamily="2" charset="0"/>
                        </a:rPr>
                        <a:t>kr</a:t>
                      </a:r>
                      <a:r>
                        <a:rPr lang="en-US" sz="600" b="0" i="0" u="none" strike="noStrike" dirty="0">
                          <a:solidFill>
                            <a:srgbClr val="575555"/>
                          </a:solidFill>
                          <a:effectLst/>
                          <a:latin typeface="Nexa Bold" panose="00000800000000000000" pitchFamily="2" charset="0"/>
                        </a:rPr>
                        <a: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0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7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81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AE" sz="600" b="0" i="0" u="none" strike="noStrike" dirty="0">
                          <a:solidFill>
                            <a:srgbClr val="575555"/>
                          </a:solidFill>
                          <a:effectLst/>
                          <a:latin typeface="Nexa Book" panose="00000400000000000000" pitchFamily="2" charset="0"/>
                        </a:rPr>
                        <a:t>106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endParaRPr lang="en-AE" sz="600" b="0" i="1" u="none" strike="noStrike" dirty="0">
                        <a:solidFill>
                          <a:schemeClr val="accent5"/>
                        </a:solidFill>
                        <a:effectLst/>
                        <a:latin typeface="Nexa Book" panose="00000400000000000000" pitchFamily="2" charset="0"/>
                      </a:endParaRP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a:ea typeface="+mn-ea"/>
                <a:cs typeface="+mn-cs"/>
              </a:rPr>
              <a:t>Base Price/Unit ($)</a:t>
            </a:r>
          </a:p>
        </p:txBody>
      </p:sp>
    </p:spTree>
    <p:extLst>
      <p:ext uri="{BB962C8B-B14F-4D97-AF65-F5344CB8AC3E}">
        <p14:creationId xmlns:p14="http://schemas.microsoft.com/office/powerpoint/2010/main" val="72912370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6/18/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r>
              <a:rPr lang="en-US"/>
              <a:t>Price Distribution By Brand | Total | National | P12M</a:t>
            </a:r>
            <a:endParaRPr lang="en-AE"/>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Avg Price </a:t>
            </a:r>
          </a:p>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ld" panose="00000800000000000000" pitchFamily="2" charset="0"/>
                <a:ea typeface="+mn-ea"/>
                <a:cs typeface="+mn-cs"/>
              </a:rPr>
              <a:t>Per Unit ($)</a:t>
            </a:r>
          </a:p>
        </p:txBody>
      </p:sp>
    </p:spTree>
    <p:extLst>
      <p:ext uri="{BB962C8B-B14F-4D97-AF65-F5344CB8AC3E}">
        <p14:creationId xmlns:p14="http://schemas.microsoft.com/office/powerpoint/2010/main" val="5138352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Props1.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3.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28</TotalTime>
  <Words>1785</Words>
  <Application>Microsoft Office PowerPoint</Application>
  <PresentationFormat>On-screen Show (16:9)</PresentationFormat>
  <Paragraphs>651</Paragraphs>
  <Slides>17</Slides>
  <Notes>6</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7"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Price Positioning Analysis (Replace with SO WHAT)</vt:lpstr>
      <vt:lpstr>Sector/Segment Leadership Table (Replace with SO WHAT)</vt:lpstr>
      <vt:lpstr>Segment Leadership Analysis (Replace with So What)</vt:lpstr>
      <vt:lpstr>Sectors Leadership Analysis (Replace with So What)</vt:lpstr>
      <vt:lpstr>Avg Price/Vol Comparison (Replace with SO WHAT)</vt:lpstr>
      <vt:lpstr>Shelf Price/Vol Comparison (Replace with SO WHAT)</vt:lpstr>
      <vt:lpstr>Price Point Distribution Analysis by product (Replace with SO WHAT)</vt:lpstr>
      <vt:lpstr>Price Point Comparison Analysis by Product (Replace with SO WHAT)</vt:lpstr>
      <vt:lpstr>Price Point Distribution Analysis by brand (Replace with SO WHAT)</vt:lpstr>
      <vt:lpstr>Price Point Distribution by brand by Sector (Replace with SO WHAT)</vt:lpstr>
      <vt:lpstr>Price Correlation Analysis P3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int Distribution Analysis by product (Replace with SO WHAT)</vt:lpstr>
      <vt:lpstr>Price Point Comparison Analysis by Produc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alma ANANY</cp:lastModifiedBy>
  <cp:revision>39</cp:revision>
  <dcterms:created xsi:type="dcterms:W3CDTF">2024-07-05T14:56:51Z</dcterms:created>
  <dcterms:modified xsi:type="dcterms:W3CDTF">2025-06-18T12:26: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